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5"/>
    <p:sldMasterId id="2147483668" r:id="rId6"/>
    <p:sldMasterId id="2147483693" r:id="rId7"/>
    <p:sldMasterId id="2147483712" r:id="rId8"/>
    <p:sldMasterId id="2147483732" r:id="rId9"/>
    <p:sldMasterId id="2147483738" r:id="rId10"/>
  </p:sldMasterIdLst>
  <p:notesMasterIdLst>
    <p:notesMasterId r:id="rId25"/>
  </p:notesMasterIdLst>
  <p:sldIdLst>
    <p:sldId id="325" r:id="rId11"/>
    <p:sldId id="312" r:id="rId12"/>
    <p:sldId id="354" r:id="rId13"/>
    <p:sldId id="2147483605" r:id="rId14"/>
    <p:sldId id="350" r:id="rId15"/>
    <p:sldId id="339" r:id="rId16"/>
    <p:sldId id="2147483609" r:id="rId17"/>
    <p:sldId id="2147483612" r:id="rId18"/>
    <p:sldId id="2147483608" r:id="rId19"/>
    <p:sldId id="2147483607" r:id="rId20"/>
    <p:sldId id="343" r:id="rId21"/>
    <p:sldId id="341" r:id="rId22"/>
    <p:sldId id="2147483610" r:id="rId23"/>
    <p:sldId id="2147483611" r:id="rId24"/>
  </p:sldIdLst>
  <p:sldSz cx="11520488" cy="6480175"/>
  <p:notesSz cx="6858000" cy="9144000"/>
  <p:embeddedFontLst>
    <p:embeddedFont>
      <p:font typeface="Allianz Neo" panose="020B0504020203020204" pitchFamily="34" charset="0"/>
      <p:regular r:id="rId26"/>
      <p:bold r:id="rId27"/>
      <p:italic r:id="rId28"/>
      <p:boldItalic r:id="rId29"/>
    </p:embeddedFont>
    <p:embeddedFont>
      <p:font typeface="Allianz Neo Light" panose="020B0304020203020204" pitchFamily="34" charset="0"/>
      <p:regular r:id="rId30"/>
      <p:italic r:id="rId31"/>
    </p:embeddedFont>
    <p:embeddedFont>
      <p:font typeface="Allianz Neo PPT" panose="020B0604020202020204" charset="0"/>
      <p:regular r:id="rId32"/>
      <p:bold r:id="rId33"/>
      <p:italic r:id="rId34"/>
      <p:boldItalic r:id="rId35"/>
    </p:embeddedFont>
    <p:embeddedFont>
      <p:font typeface="Calibri" panose="020F0502020204030204" pitchFamily="34" charset="0"/>
      <p:regular r:id="rId36"/>
      <p:bold r:id="rId37"/>
      <p:italic r:id="rId38"/>
      <p:boldItalic r:id="rId39"/>
    </p:embeddedFont>
  </p:embeddedFontLst>
  <p:defaultTextStyle>
    <a:defPPr>
      <a:defRPr lang="de-DE"/>
    </a:defPPr>
    <a:lvl1pPr marL="0" algn="l" defTabSz="864017" rtl="0" eaLnBrk="1" latinLnBrk="0" hangingPunct="1">
      <a:defRPr sz="1701" kern="1200">
        <a:solidFill>
          <a:schemeClr val="tx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EFE"/>
    <a:srgbClr val="E4E4E4"/>
    <a:srgbClr val="E9F1F5"/>
    <a:srgbClr val="B5DAE6"/>
    <a:srgbClr val="C0D0FF"/>
    <a:srgbClr val="003781"/>
    <a:srgbClr val="EEEEEE"/>
    <a:srgbClr val="1A1A1B"/>
    <a:srgbClr val="C6C9D1"/>
    <a:srgbClr val="7D7D7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90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font" Target="fonts/font1.fntdata"/><Relationship Id="rId39" Type="http://schemas.openxmlformats.org/officeDocument/2006/relationships/font" Target="fonts/font14.fntdata"/><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font" Target="fonts/font9.fntdata"/><Relationship Id="rId42"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notesMaster" Target="notesMasters/notes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font" Target="fonts/font4.fntdata"/><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font" Target="fonts/font6.fntdata"/><Relationship Id="rId44"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verts, Susanne (Allianz Kunde und Markt)" userId="e35a5471-d092-49fe-8ba2-1b95fa53cb5e" providerId="ADAL" clId="{8C6D9FDA-9BE7-4D93-9E4C-F16F369CCE6C}"/>
    <pc:docChg chg="undo redo custSel addSld delSld modSld sldOrd delMainMaster">
      <pc:chgData name="Everts, Susanne (Allianz Kunde und Markt)" userId="e35a5471-d092-49fe-8ba2-1b95fa53cb5e" providerId="ADAL" clId="{8C6D9FDA-9BE7-4D93-9E4C-F16F369CCE6C}" dt="2024-05-14T10:22:03.347" v="3165" actId="20577"/>
      <pc:docMkLst>
        <pc:docMk/>
      </pc:docMkLst>
      <pc:sldChg chg="addSp delSp modSp mod">
        <pc:chgData name="Everts, Susanne (Allianz Kunde und Markt)" userId="e35a5471-d092-49fe-8ba2-1b95fa53cb5e" providerId="ADAL" clId="{8C6D9FDA-9BE7-4D93-9E4C-F16F369CCE6C}" dt="2024-05-07T06:45:01.848" v="2605" actId="6549"/>
        <pc:sldMkLst>
          <pc:docMk/>
          <pc:sldMk cId="2746217482" sldId="312"/>
        </pc:sldMkLst>
        <pc:spChg chg="del mod">
          <ac:chgData name="Everts, Susanne (Allianz Kunde und Markt)" userId="e35a5471-d092-49fe-8ba2-1b95fa53cb5e" providerId="ADAL" clId="{8C6D9FDA-9BE7-4D93-9E4C-F16F369CCE6C}" dt="2024-04-30T11:24:19.273" v="1198" actId="478"/>
          <ac:spMkLst>
            <pc:docMk/>
            <pc:sldMk cId="2746217482" sldId="312"/>
            <ac:spMk id="3" creationId="{F2F4E5BA-E444-5EAF-66B7-5A831851FB4A}"/>
          </ac:spMkLst>
        </pc:spChg>
        <pc:spChg chg="add del mod">
          <ac:chgData name="Everts, Susanne (Allianz Kunde und Markt)" userId="e35a5471-d092-49fe-8ba2-1b95fa53cb5e" providerId="ADAL" clId="{8C6D9FDA-9BE7-4D93-9E4C-F16F369CCE6C}" dt="2024-04-30T12:00:31.318" v="2355" actId="478"/>
          <ac:spMkLst>
            <pc:docMk/>
            <pc:sldMk cId="2746217482" sldId="312"/>
            <ac:spMk id="6" creationId="{14D27F16-48B3-E520-4FF5-ECA728978027}"/>
          </ac:spMkLst>
        </pc:spChg>
        <pc:spChg chg="mod">
          <ac:chgData name="Everts, Susanne (Allianz Kunde und Markt)" userId="e35a5471-d092-49fe-8ba2-1b95fa53cb5e" providerId="ADAL" clId="{8C6D9FDA-9BE7-4D93-9E4C-F16F369CCE6C}" dt="2024-04-30T11:23:00.693" v="1179" actId="20577"/>
          <ac:spMkLst>
            <pc:docMk/>
            <pc:sldMk cId="2746217482" sldId="312"/>
            <ac:spMk id="22" creationId="{1E85E34B-22E1-42B6-94A7-0885707F4F6B}"/>
          </ac:spMkLst>
        </pc:spChg>
        <pc:spChg chg="mod">
          <ac:chgData name="Everts, Susanne (Allianz Kunde und Markt)" userId="e35a5471-d092-49fe-8ba2-1b95fa53cb5e" providerId="ADAL" clId="{8C6D9FDA-9BE7-4D93-9E4C-F16F369CCE6C}" dt="2024-04-30T12:04:36.375" v="2390" actId="20577"/>
          <ac:spMkLst>
            <pc:docMk/>
            <pc:sldMk cId="2746217482" sldId="312"/>
            <ac:spMk id="27" creationId="{196DF232-D1B7-44C1-94F0-3B425952DF1B}"/>
          </ac:spMkLst>
        </pc:spChg>
        <pc:spChg chg="mod">
          <ac:chgData name="Everts, Susanne (Allianz Kunde und Markt)" userId="e35a5471-d092-49fe-8ba2-1b95fa53cb5e" providerId="ADAL" clId="{8C6D9FDA-9BE7-4D93-9E4C-F16F369CCE6C}" dt="2024-04-30T12:00:14.657" v="2354" actId="20577"/>
          <ac:spMkLst>
            <pc:docMk/>
            <pc:sldMk cId="2746217482" sldId="312"/>
            <ac:spMk id="28" creationId="{386D4B4A-BAB2-0C4C-BDDB-EF3BDFEB3F6C}"/>
          </ac:spMkLst>
        </pc:spChg>
        <pc:spChg chg="mod">
          <ac:chgData name="Everts, Susanne (Allianz Kunde und Markt)" userId="e35a5471-d092-49fe-8ba2-1b95fa53cb5e" providerId="ADAL" clId="{8C6D9FDA-9BE7-4D93-9E4C-F16F369CCE6C}" dt="2024-04-30T12:00:05.443" v="2347" actId="6549"/>
          <ac:spMkLst>
            <pc:docMk/>
            <pc:sldMk cId="2746217482" sldId="312"/>
            <ac:spMk id="41" creationId="{B8303F0C-BCB4-534B-AE03-5C03CD5304CE}"/>
          </ac:spMkLst>
        </pc:spChg>
        <pc:spChg chg="mod">
          <ac:chgData name="Everts, Susanne (Allianz Kunde und Markt)" userId="e35a5471-d092-49fe-8ba2-1b95fa53cb5e" providerId="ADAL" clId="{8C6D9FDA-9BE7-4D93-9E4C-F16F369CCE6C}" dt="2024-05-07T06:45:01.848" v="2605" actId="6549"/>
          <ac:spMkLst>
            <pc:docMk/>
            <pc:sldMk cId="2746217482" sldId="312"/>
            <ac:spMk id="57" creationId="{373CECB8-A722-2D4C-BEA8-F9CB440202B6}"/>
          </ac:spMkLst>
        </pc:spChg>
      </pc:sldChg>
      <pc:sldChg chg="addSp delSp modSp mod">
        <pc:chgData name="Everts, Susanne (Allianz Kunde und Markt)" userId="e35a5471-d092-49fe-8ba2-1b95fa53cb5e" providerId="ADAL" clId="{8C6D9FDA-9BE7-4D93-9E4C-F16F369CCE6C}" dt="2024-04-30T11:46:09.666" v="2306" actId="478"/>
        <pc:sldMkLst>
          <pc:docMk/>
          <pc:sldMk cId="4186412487" sldId="325"/>
        </pc:sldMkLst>
        <pc:spChg chg="add del mod">
          <ac:chgData name="Everts, Susanne (Allianz Kunde und Markt)" userId="e35a5471-d092-49fe-8ba2-1b95fa53cb5e" providerId="ADAL" clId="{8C6D9FDA-9BE7-4D93-9E4C-F16F369CCE6C}" dt="2024-04-30T11:46:06.784" v="2303" actId="478"/>
          <ac:spMkLst>
            <pc:docMk/>
            <pc:sldMk cId="4186412487" sldId="325"/>
            <ac:spMk id="4" creationId="{C87C0323-4D7C-8E20-32E4-3634203ACBA6}"/>
          </ac:spMkLst>
        </pc:spChg>
        <pc:spChg chg="add mod">
          <ac:chgData name="Everts, Susanne (Allianz Kunde und Markt)" userId="e35a5471-d092-49fe-8ba2-1b95fa53cb5e" providerId="ADAL" clId="{8C6D9FDA-9BE7-4D93-9E4C-F16F369CCE6C}" dt="2024-04-30T11:46:09.666" v="2306" actId="478"/>
          <ac:spMkLst>
            <pc:docMk/>
            <pc:sldMk cId="4186412487" sldId="325"/>
            <ac:spMk id="6" creationId="{1D04901D-8DC4-BABC-3B00-8BFBF04D85D5}"/>
          </ac:spMkLst>
        </pc:spChg>
        <pc:spChg chg="mod">
          <ac:chgData name="Everts, Susanne (Allianz Kunde und Markt)" userId="e35a5471-d092-49fe-8ba2-1b95fa53cb5e" providerId="ADAL" clId="{8C6D9FDA-9BE7-4D93-9E4C-F16F369CCE6C}" dt="2024-04-30T11:22:34.952" v="1158" actId="20577"/>
          <ac:spMkLst>
            <pc:docMk/>
            <pc:sldMk cId="4186412487" sldId="325"/>
            <ac:spMk id="8" creationId="{7AD26D70-5616-4C05-9FA2-2E55246088AA}"/>
          </ac:spMkLst>
        </pc:spChg>
        <pc:spChg chg="mod">
          <ac:chgData name="Everts, Susanne (Allianz Kunde und Markt)" userId="e35a5471-d092-49fe-8ba2-1b95fa53cb5e" providerId="ADAL" clId="{8C6D9FDA-9BE7-4D93-9E4C-F16F369CCE6C}" dt="2024-04-30T11:22:23.502" v="1146" actId="20577"/>
          <ac:spMkLst>
            <pc:docMk/>
            <pc:sldMk cId="4186412487" sldId="325"/>
            <ac:spMk id="9" creationId="{D57B8FD9-B4C3-47DC-BF32-3A803969BCBF}"/>
          </ac:spMkLst>
        </pc:spChg>
        <pc:picChg chg="add del">
          <ac:chgData name="Everts, Susanne (Allianz Kunde und Markt)" userId="e35a5471-d092-49fe-8ba2-1b95fa53cb5e" providerId="ADAL" clId="{8C6D9FDA-9BE7-4D93-9E4C-F16F369CCE6C}" dt="2024-04-30T11:46:09.666" v="2306" actId="478"/>
          <ac:picMkLst>
            <pc:docMk/>
            <pc:sldMk cId="4186412487" sldId="325"/>
            <ac:picMk id="3" creationId="{00000000-0000-0000-0000-000000000000}"/>
          </ac:picMkLst>
        </pc:picChg>
        <pc:picChg chg="add del ord">
          <ac:chgData name="Everts, Susanne (Allianz Kunde und Markt)" userId="e35a5471-d092-49fe-8ba2-1b95fa53cb5e" providerId="ADAL" clId="{8C6D9FDA-9BE7-4D93-9E4C-F16F369CCE6C}" dt="2024-04-30T11:46:08.891" v="2305" actId="478"/>
          <ac:picMkLst>
            <pc:docMk/>
            <pc:sldMk cId="4186412487" sldId="325"/>
            <ac:picMk id="7" creationId="{00000000-0000-0000-0000-000000000000}"/>
          </ac:picMkLst>
        </pc:picChg>
      </pc:sldChg>
      <pc:sldChg chg="modSp del mod">
        <pc:chgData name="Everts, Susanne (Allianz Kunde und Markt)" userId="e35a5471-d092-49fe-8ba2-1b95fa53cb5e" providerId="ADAL" clId="{8C6D9FDA-9BE7-4D93-9E4C-F16F369CCE6C}" dt="2024-04-26T09:01:28.230" v="279" actId="47"/>
        <pc:sldMkLst>
          <pc:docMk/>
          <pc:sldMk cId="2909442710" sldId="336"/>
        </pc:sldMkLst>
        <pc:spChg chg="mod">
          <ac:chgData name="Everts, Susanne (Allianz Kunde und Markt)" userId="e35a5471-d092-49fe-8ba2-1b95fa53cb5e" providerId="ADAL" clId="{8C6D9FDA-9BE7-4D93-9E4C-F16F369CCE6C}" dt="2024-04-26T09:01:10.949" v="278"/>
          <ac:spMkLst>
            <pc:docMk/>
            <pc:sldMk cId="2909442710" sldId="336"/>
            <ac:spMk id="37" creationId="{1E85E34B-22E1-42B6-94A7-0885707F4F6B}"/>
          </ac:spMkLst>
        </pc:spChg>
      </pc:sldChg>
      <pc:sldChg chg="modSp mod">
        <pc:chgData name="Everts, Susanne (Allianz Kunde und Markt)" userId="e35a5471-d092-49fe-8ba2-1b95fa53cb5e" providerId="ADAL" clId="{8C6D9FDA-9BE7-4D93-9E4C-F16F369CCE6C}" dt="2024-04-30T12:04:14.649" v="2382" actId="20577"/>
        <pc:sldMkLst>
          <pc:docMk/>
          <pc:sldMk cId="302209885" sldId="339"/>
        </pc:sldMkLst>
        <pc:spChg chg="mod">
          <ac:chgData name="Everts, Susanne (Allianz Kunde und Markt)" userId="e35a5471-d092-49fe-8ba2-1b95fa53cb5e" providerId="ADAL" clId="{8C6D9FDA-9BE7-4D93-9E4C-F16F369CCE6C}" dt="2024-04-30T11:23:20.747" v="1185"/>
          <ac:spMkLst>
            <pc:docMk/>
            <pc:sldMk cId="302209885" sldId="339"/>
            <ac:spMk id="24" creationId="{1E85E34B-22E1-42B6-94A7-0885707F4F6B}"/>
          </ac:spMkLst>
        </pc:spChg>
        <pc:spChg chg="mod">
          <ac:chgData name="Everts, Susanne (Allianz Kunde und Markt)" userId="e35a5471-d092-49fe-8ba2-1b95fa53cb5e" providerId="ADAL" clId="{8C6D9FDA-9BE7-4D93-9E4C-F16F369CCE6C}" dt="2024-04-30T12:04:14.649" v="2382" actId="20577"/>
          <ac:spMkLst>
            <pc:docMk/>
            <pc:sldMk cId="302209885" sldId="339"/>
            <ac:spMk id="28" creationId="{196DF232-D1B7-44C1-94F0-3B425952DF1B}"/>
          </ac:spMkLst>
        </pc:spChg>
      </pc:sldChg>
      <pc:sldChg chg="add del">
        <pc:chgData name="Everts, Susanne (Allianz Kunde und Markt)" userId="e35a5471-d092-49fe-8ba2-1b95fa53cb5e" providerId="ADAL" clId="{8C6D9FDA-9BE7-4D93-9E4C-F16F369CCE6C}" dt="2024-04-26T09:06:14.209" v="452" actId="47"/>
        <pc:sldMkLst>
          <pc:docMk/>
          <pc:sldMk cId="3439609938" sldId="340"/>
        </pc:sldMkLst>
      </pc:sldChg>
      <pc:sldChg chg="modSp mod">
        <pc:chgData name="Everts, Susanne (Allianz Kunde und Markt)" userId="e35a5471-d092-49fe-8ba2-1b95fa53cb5e" providerId="ADAL" clId="{8C6D9FDA-9BE7-4D93-9E4C-F16F369CCE6C}" dt="2024-04-30T12:03:44.905" v="2370" actId="20577"/>
        <pc:sldMkLst>
          <pc:docMk/>
          <pc:sldMk cId="1865615597" sldId="341"/>
        </pc:sldMkLst>
        <pc:spChg chg="mod">
          <ac:chgData name="Everts, Susanne (Allianz Kunde und Markt)" userId="e35a5471-d092-49fe-8ba2-1b95fa53cb5e" providerId="ADAL" clId="{8C6D9FDA-9BE7-4D93-9E4C-F16F369CCE6C}" dt="2024-04-30T11:43:23.833" v="2281" actId="6549"/>
          <ac:spMkLst>
            <pc:docMk/>
            <pc:sldMk cId="1865615597" sldId="341"/>
            <ac:spMk id="17" creationId="{00000000-0000-0000-0000-000000000000}"/>
          </ac:spMkLst>
        </pc:spChg>
        <pc:spChg chg="mod">
          <ac:chgData name="Everts, Susanne (Allianz Kunde und Markt)" userId="e35a5471-d092-49fe-8ba2-1b95fa53cb5e" providerId="ADAL" clId="{8C6D9FDA-9BE7-4D93-9E4C-F16F369CCE6C}" dt="2024-04-30T11:23:51.883" v="1195"/>
          <ac:spMkLst>
            <pc:docMk/>
            <pc:sldMk cId="1865615597" sldId="341"/>
            <ac:spMk id="24" creationId="{1E85E34B-22E1-42B6-94A7-0885707F4F6B}"/>
          </ac:spMkLst>
        </pc:spChg>
        <pc:spChg chg="mod">
          <ac:chgData name="Everts, Susanne (Allianz Kunde und Markt)" userId="e35a5471-d092-49fe-8ba2-1b95fa53cb5e" providerId="ADAL" clId="{8C6D9FDA-9BE7-4D93-9E4C-F16F369CCE6C}" dt="2024-04-30T12:03:44.905" v="2370" actId="20577"/>
          <ac:spMkLst>
            <pc:docMk/>
            <pc:sldMk cId="1865615597" sldId="341"/>
            <ac:spMk id="55" creationId="{196DF232-D1B7-44C1-94F0-3B425952DF1B}"/>
          </ac:spMkLst>
        </pc:spChg>
      </pc:sldChg>
      <pc:sldChg chg="modSp mod">
        <pc:chgData name="Everts, Susanne (Allianz Kunde und Markt)" userId="e35a5471-d092-49fe-8ba2-1b95fa53cb5e" providerId="ADAL" clId="{8C6D9FDA-9BE7-4D93-9E4C-F16F369CCE6C}" dt="2024-04-30T12:03:48.946" v="2372" actId="20577"/>
        <pc:sldMkLst>
          <pc:docMk/>
          <pc:sldMk cId="3838429458" sldId="343"/>
        </pc:sldMkLst>
        <pc:spChg chg="mod">
          <ac:chgData name="Everts, Susanne (Allianz Kunde und Markt)" userId="e35a5471-d092-49fe-8ba2-1b95fa53cb5e" providerId="ADAL" clId="{8C6D9FDA-9BE7-4D93-9E4C-F16F369CCE6C}" dt="2024-04-30T11:43:01.332" v="2279" actId="20577"/>
          <ac:spMkLst>
            <pc:docMk/>
            <pc:sldMk cId="3838429458" sldId="343"/>
            <ac:spMk id="2" creationId="{00000000-0000-0000-0000-000000000000}"/>
          </ac:spMkLst>
        </pc:spChg>
        <pc:spChg chg="mod">
          <ac:chgData name="Everts, Susanne (Allianz Kunde und Markt)" userId="e35a5471-d092-49fe-8ba2-1b95fa53cb5e" providerId="ADAL" clId="{8C6D9FDA-9BE7-4D93-9E4C-F16F369CCE6C}" dt="2024-04-30T11:23:48.940" v="1194"/>
          <ac:spMkLst>
            <pc:docMk/>
            <pc:sldMk cId="3838429458" sldId="343"/>
            <ac:spMk id="24" creationId="{1E85E34B-22E1-42B6-94A7-0885707F4F6B}"/>
          </ac:spMkLst>
        </pc:spChg>
        <pc:spChg chg="mod">
          <ac:chgData name="Everts, Susanne (Allianz Kunde und Markt)" userId="e35a5471-d092-49fe-8ba2-1b95fa53cb5e" providerId="ADAL" clId="{8C6D9FDA-9BE7-4D93-9E4C-F16F369CCE6C}" dt="2024-04-30T12:03:48.946" v="2372" actId="20577"/>
          <ac:spMkLst>
            <pc:docMk/>
            <pc:sldMk cId="3838429458" sldId="343"/>
            <ac:spMk id="28" creationId="{196DF232-D1B7-44C1-94F0-3B425952DF1B}"/>
          </ac:spMkLst>
        </pc:spChg>
      </pc:sldChg>
      <pc:sldChg chg="del">
        <pc:chgData name="Everts, Susanne (Allianz Kunde und Markt)" userId="e35a5471-d092-49fe-8ba2-1b95fa53cb5e" providerId="ADAL" clId="{8C6D9FDA-9BE7-4D93-9E4C-F16F369CCE6C}" dt="2024-04-26T09:06:53.376" v="456" actId="47"/>
        <pc:sldMkLst>
          <pc:docMk/>
          <pc:sldMk cId="3803048978" sldId="344"/>
        </pc:sldMkLst>
      </pc:sldChg>
      <pc:sldChg chg="del">
        <pc:chgData name="Everts, Susanne (Allianz Kunde und Markt)" userId="e35a5471-d092-49fe-8ba2-1b95fa53cb5e" providerId="ADAL" clId="{8C6D9FDA-9BE7-4D93-9E4C-F16F369CCE6C}" dt="2024-04-26T09:06:57.185" v="457" actId="47"/>
        <pc:sldMkLst>
          <pc:docMk/>
          <pc:sldMk cId="2514620217" sldId="345"/>
        </pc:sldMkLst>
      </pc:sldChg>
      <pc:sldChg chg="del">
        <pc:chgData name="Everts, Susanne (Allianz Kunde und Markt)" userId="e35a5471-d092-49fe-8ba2-1b95fa53cb5e" providerId="ADAL" clId="{8C6D9FDA-9BE7-4D93-9E4C-F16F369CCE6C}" dt="2024-04-26T09:07:06.941" v="460" actId="47"/>
        <pc:sldMkLst>
          <pc:docMk/>
          <pc:sldMk cId="2144398700" sldId="346"/>
        </pc:sldMkLst>
      </pc:sldChg>
      <pc:sldChg chg="del">
        <pc:chgData name="Everts, Susanne (Allianz Kunde und Markt)" userId="e35a5471-d092-49fe-8ba2-1b95fa53cb5e" providerId="ADAL" clId="{8C6D9FDA-9BE7-4D93-9E4C-F16F369CCE6C}" dt="2024-04-26T09:12:23.501" v="486" actId="47"/>
        <pc:sldMkLst>
          <pc:docMk/>
          <pc:sldMk cId="3884706127" sldId="347"/>
        </pc:sldMkLst>
      </pc:sldChg>
      <pc:sldChg chg="modSp mod">
        <pc:chgData name="Everts, Susanne (Allianz Kunde und Markt)" userId="e35a5471-d092-49fe-8ba2-1b95fa53cb5e" providerId="ADAL" clId="{8C6D9FDA-9BE7-4D93-9E4C-F16F369CCE6C}" dt="2024-05-07T08:20:46.646" v="2699" actId="1035"/>
        <pc:sldMkLst>
          <pc:docMk/>
          <pc:sldMk cId="4125062011" sldId="350"/>
        </pc:sldMkLst>
        <pc:spChg chg="mod">
          <ac:chgData name="Everts, Susanne (Allianz Kunde und Markt)" userId="e35a5471-d092-49fe-8ba2-1b95fa53cb5e" providerId="ADAL" clId="{8C6D9FDA-9BE7-4D93-9E4C-F16F369CCE6C}" dt="2024-05-07T08:20:46.646" v="2699" actId="1035"/>
          <ac:spMkLst>
            <pc:docMk/>
            <pc:sldMk cId="4125062011" sldId="350"/>
            <ac:spMk id="4" creationId="{00000000-0000-0000-0000-000000000000}"/>
          </ac:spMkLst>
        </pc:spChg>
        <pc:spChg chg="mod">
          <ac:chgData name="Everts, Susanne (Allianz Kunde und Markt)" userId="e35a5471-d092-49fe-8ba2-1b95fa53cb5e" providerId="ADAL" clId="{8C6D9FDA-9BE7-4D93-9E4C-F16F369CCE6C}" dt="2024-05-07T08:19:44.461" v="2676" actId="1035"/>
          <ac:spMkLst>
            <pc:docMk/>
            <pc:sldMk cId="4125062011" sldId="350"/>
            <ac:spMk id="13" creationId="{EFFF893A-2C8B-524C-B0F6-C4201F08DE9A}"/>
          </ac:spMkLst>
        </pc:spChg>
        <pc:spChg chg="mod">
          <ac:chgData name="Everts, Susanne (Allianz Kunde und Markt)" userId="e35a5471-d092-49fe-8ba2-1b95fa53cb5e" providerId="ADAL" clId="{8C6D9FDA-9BE7-4D93-9E4C-F16F369CCE6C}" dt="2024-05-07T08:20:05.401" v="2680" actId="1076"/>
          <ac:spMkLst>
            <pc:docMk/>
            <pc:sldMk cId="4125062011" sldId="350"/>
            <ac:spMk id="17" creationId="{C79BBB7C-5CDB-AB45-816B-88FC00B85060}"/>
          </ac:spMkLst>
        </pc:spChg>
        <pc:spChg chg="mod">
          <ac:chgData name="Everts, Susanne (Allianz Kunde und Markt)" userId="e35a5471-d092-49fe-8ba2-1b95fa53cb5e" providerId="ADAL" clId="{8C6D9FDA-9BE7-4D93-9E4C-F16F369CCE6C}" dt="2024-04-30T11:27:16.242" v="1284" actId="14100"/>
          <ac:spMkLst>
            <pc:docMk/>
            <pc:sldMk cId="4125062011" sldId="350"/>
            <ac:spMk id="20" creationId="{00000000-0000-0000-0000-000000000000}"/>
          </ac:spMkLst>
        </pc:spChg>
        <pc:spChg chg="mod">
          <ac:chgData name="Everts, Susanne (Allianz Kunde und Markt)" userId="e35a5471-d092-49fe-8ba2-1b95fa53cb5e" providerId="ADAL" clId="{8C6D9FDA-9BE7-4D93-9E4C-F16F369CCE6C}" dt="2024-04-30T11:23:17.464" v="1184"/>
          <ac:spMkLst>
            <pc:docMk/>
            <pc:sldMk cId="4125062011" sldId="350"/>
            <ac:spMk id="24" creationId="{1E85E34B-22E1-42B6-94A7-0885707F4F6B}"/>
          </ac:spMkLst>
        </pc:spChg>
        <pc:spChg chg="mod">
          <ac:chgData name="Everts, Susanne (Allianz Kunde und Markt)" userId="e35a5471-d092-49fe-8ba2-1b95fa53cb5e" providerId="ADAL" clId="{8C6D9FDA-9BE7-4D93-9E4C-F16F369CCE6C}" dt="2024-04-30T12:04:18.152" v="2384" actId="20577"/>
          <ac:spMkLst>
            <pc:docMk/>
            <pc:sldMk cId="4125062011" sldId="350"/>
            <ac:spMk id="28" creationId="{196DF232-D1B7-44C1-94F0-3B425952DF1B}"/>
          </ac:spMkLst>
        </pc:spChg>
        <pc:spChg chg="mod">
          <ac:chgData name="Everts, Susanne (Allianz Kunde und Markt)" userId="e35a5471-d092-49fe-8ba2-1b95fa53cb5e" providerId="ADAL" clId="{8C6D9FDA-9BE7-4D93-9E4C-F16F369CCE6C}" dt="2024-05-07T08:20:19.521" v="2686" actId="1076"/>
          <ac:spMkLst>
            <pc:docMk/>
            <pc:sldMk cId="4125062011" sldId="350"/>
            <ac:spMk id="30" creationId="{00000000-0000-0000-0000-000000000000}"/>
          </ac:spMkLst>
        </pc:spChg>
        <pc:picChg chg="mod">
          <ac:chgData name="Everts, Susanne (Allianz Kunde und Markt)" userId="e35a5471-d092-49fe-8ba2-1b95fa53cb5e" providerId="ADAL" clId="{8C6D9FDA-9BE7-4D93-9E4C-F16F369CCE6C}" dt="2024-05-07T08:20:00.087" v="2679" actId="14100"/>
          <ac:picMkLst>
            <pc:docMk/>
            <pc:sldMk cId="4125062011" sldId="350"/>
            <ac:picMk id="5" creationId="{9B6F5557-183F-F615-5B9E-FB59818DAD92}"/>
          </ac:picMkLst>
        </pc:picChg>
        <pc:cxnChg chg="mod">
          <ac:chgData name="Everts, Susanne (Allianz Kunde und Markt)" userId="e35a5471-d092-49fe-8ba2-1b95fa53cb5e" providerId="ADAL" clId="{8C6D9FDA-9BE7-4D93-9E4C-F16F369CCE6C}" dt="2024-05-07T08:20:08.728" v="2682" actId="14100"/>
          <ac:cxnSpMkLst>
            <pc:docMk/>
            <pc:sldMk cId="4125062011" sldId="350"/>
            <ac:cxnSpMk id="22" creationId="{00000000-0000-0000-0000-000000000000}"/>
          </ac:cxnSpMkLst>
        </pc:cxnChg>
        <pc:cxnChg chg="mod">
          <ac:chgData name="Everts, Susanne (Allianz Kunde und Markt)" userId="e35a5471-d092-49fe-8ba2-1b95fa53cb5e" providerId="ADAL" clId="{8C6D9FDA-9BE7-4D93-9E4C-F16F369CCE6C}" dt="2024-05-07T08:20:16.212" v="2685" actId="14100"/>
          <ac:cxnSpMkLst>
            <pc:docMk/>
            <pc:sldMk cId="4125062011" sldId="350"/>
            <ac:cxnSpMk id="25" creationId="{00000000-0000-0000-0000-000000000000}"/>
          </ac:cxnSpMkLst>
        </pc:cxnChg>
        <pc:cxnChg chg="mod">
          <ac:chgData name="Everts, Susanne (Allianz Kunde und Markt)" userId="e35a5471-d092-49fe-8ba2-1b95fa53cb5e" providerId="ADAL" clId="{8C6D9FDA-9BE7-4D93-9E4C-F16F369CCE6C}" dt="2024-05-07T08:20:11.035" v="2683" actId="14100"/>
          <ac:cxnSpMkLst>
            <pc:docMk/>
            <pc:sldMk cId="4125062011" sldId="350"/>
            <ac:cxnSpMk id="29" creationId="{00000000-0000-0000-0000-000000000000}"/>
          </ac:cxnSpMkLst>
        </pc:cxnChg>
        <pc:cxnChg chg="mod">
          <ac:chgData name="Everts, Susanne (Allianz Kunde und Markt)" userId="e35a5471-d092-49fe-8ba2-1b95fa53cb5e" providerId="ADAL" clId="{8C6D9FDA-9BE7-4D93-9E4C-F16F369CCE6C}" dt="2024-05-07T08:20:26.999" v="2689" actId="14100"/>
          <ac:cxnSpMkLst>
            <pc:docMk/>
            <pc:sldMk cId="4125062011" sldId="350"/>
            <ac:cxnSpMk id="31" creationId="{00000000-0000-0000-0000-000000000000}"/>
          </ac:cxnSpMkLst>
        </pc:cxnChg>
      </pc:sldChg>
      <pc:sldChg chg="modSp del mod">
        <pc:chgData name="Everts, Susanne (Allianz Kunde und Markt)" userId="e35a5471-d092-49fe-8ba2-1b95fa53cb5e" providerId="ADAL" clId="{8C6D9FDA-9BE7-4D93-9E4C-F16F369CCE6C}" dt="2024-05-07T08:19:51.677" v="2677" actId="47"/>
        <pc:sldMkLst>
          <pc:docMk/>
          <pc:sldMk cId="2241849153" sldId="351"/>
        </pc:sldMkLst>
        <pc:spChg chg="mod">
          <ac:chgData name="Everts, Susanne (Allianz Kunde und Markt)" userId="e35a5471-d092-49fe-8ba2-1b95fa53cb5e" providerId="ADAL" clId="{8C6D9FDA-9BE7-4D93-9E4C-F16F369CCE6C}" dt="2024-04-30T12:01:50.756" v="2361" actId="20577"/>
          <ac:spMkLst>
            <pc:docMk/>
            <pc:sldMk cId="2241849153" sldId="351"/>
            <ac:spMk id="4" creationId="{00000000-0000-0000-0000-000000000000}"/>
          </ac:spMkLst>
        </pc:spChg>
        <pc:spChg chg="mod">
          <ac:chgData name="Everts, Susanne (Allianz Kunde und Markt)" userId="e35a5471-d092-49fe-8ba2-1b95fa53cb5e" providerId="ADAL" clId="{8C6D9FDA-9BE7-4D93-9E4C-F16F369CCE6C}" dt="2024-04-26T09:13:22.504" v="494" actId="6549"/>
          <ac:spMkLst>
            <pc:docMk/>
            <pc:sldMk cId="2241849153" sldId="351"/>
            <ac:spMk id="17" creationId="{5170A37A-9CD5-8095-7DCB-B86DAA78EFE5}"/>
          </ac:spMkLst>
        </pc:spChg>
        <pc:spChg chg="mod">
          <ac:chgData name="Everts, Susanne (Allianz Kunde und Markt)" userId="e35a5471-d092-49fe-8ba2-1b95fa53cb5e" providerId="ADAL" clId="{8C6D9FDA-9BE7-4D93-9E4C-F16F369CCE6C}" dt="2024-04-30T11:23:32.983" v="1190" actId="6549"/>
          <ac:spMkLst>
            <pc:docMk/>
            <pc:sldMk cId="2241849153" sldId="351"/>
            <ac:spMk id="24" creationId="{1E85E34B-22E1-42B6-94A7-0885707F4F6B}"/>
          </ac:spMkLst>
        </pc:spChg>
        <pc:spChg chg="mod">
          <ac:chgData name="Everts, Susanne (Allianz Kunde und Markt)" userId="e35a5471-d092-49fe-8ba2-1b95fa53cb5e" providerId="ADAL" clId="{8C6D9FDA-9BE7-4D93-9E4C-F16F369CCE6C}" dt="2024-04-30T12:04:06.150" v="2378" actId="20577"/>
          <ac:spMkLst>
            <pc:docMk/>
            <pc:sldMk cId="2241849153" sldId="351"/>
            <ac:spMk id="28" creationId="{196DF232-D1B7-44C1-94F0-3B425952DF1B}"/>
          </ac:spMkLst>
        </pc:spChg>
      </pc:sldChg>
      <pc:sldChg chg="delSp modSp mod">
        <pc:chgData name="Everts, Susanne (Allianz Kunde und Markt)" userId="e35a5471-d092-49fe-8ba2-1b95fa53cb5e" providerId="ADAL" clId="{8C6D9FDA-9BE7-4D93-9E4C-F16F369CCE6C}" dt="2024-05-14T10:22:03.347" v="3165" actId="20577"/>
        <pc:sldMkLst>
          <pc:docMk/>
          <pc:sldMk cId="433443105" sldId="354"/>
        </pc:sldMkLst>
        <pc:spChg chg="del">
          <ac:chgData name="Everts, Susanne (Allianz Kunde und Markt)" userId="e35a5471-d092-49fe-8ba2-1b95fa53cb5e" providerId="ADAL" clId="{8C6D9FDA-9BE7-4D93-9E4C-F16F369CCE6C}" dt="2024-04-26T08:59:06.738" v="45" actId="478"/>
          <ac:spMkLst>
            <pc:docMk/>
            <pc:sldMk cId="433443105" sldId="354"/>
            <ac:spMk id="2" creationId="{9BC64828-E422-8A0F-8C5A-5F24AF6CC65F}"/>
          </ac:spMkLst>
        </pc:spChg>
        <pc:spChg chg="mod">
          <ac:chgData name="Everts, Susanne (Allianz Kunde und Markt)" userId="e35a5471-d092-49fe-8ba2-1b95fa53cb5e" providerId="ADAL" clId="{8C6D9FDA-9BE7-4D93-9E4C-F16F369CCE6C}" dt="2024-04-30T11:25:48.630" v="1221" actId="6549"/>
          <ac:spMkLst>
            <pc:docMk/>
            <pc:sldMk cId="433443105" sldId="354"/>
            <ac:spMk id="16" creationId="{CBE74906-FD3F-8729-1AED-80BD0B46CE5C}"/>
          </ac:spMkLst>
        </pc:spChg>
        <pc:spChg chg="mod">
          <ac:chgData name="Everts, Susanne (Allianz Kunde und Markt)" userId="e35a5471-d092-49fe-8ba2-1b95fa53cb5e" providerId="ADAL" clId="{8C6D9FDA-9BE7-4D93-9E4C-F16F369CCE6C}" dt="2024-04-26T09:00:31.581" v="266" actId="1035"/>
          <ac:spMkLst>
            <pc:docMk/>
            <pc:sldMk cId="433443105" sldId="354"/>
            <ac:spMk id="19" creationId="{11C6BF8D-5D39-9A15-A04E-C40FE83761C4}"/>
          </ac:spMkLst>
        </pc:spChg>
        <pc:spChg chg="mod">
          <ac:chgData name="Everts, Susanne (Allianz Kunde und Markt)" userId="e35a5471-d092-49fe-8ba2-1b95fa53cb5e" providerId="ADAL" clId="{8C6D9FDA-9BE7-4D93-9E4C-F16F369CCE6C}" dt="2024-04-30T11:26:14.030" v="1279" actId="20577"/>
          <ac:spMkLst>
            <pc:docMk/>
            <pc:sldMk cId="433443105" sldId="354"/>
            <ac:spMk id="21" creationId="{776A7451-7A8A-6677-5F78-D5617F58B189}"/>
          </ac:spMkLst>
        </pc:spChg>
        <pc:spChg chg="mod">
          <ac:chgData name="Everts, Susanne (Allianz Kunde und Markt)" userId="e35a5471-d092-49fe-8ba2-1b95fa53cb5e" providerId="ADAL" clId="{8C6D9FDA-9BE7-4D93-9E4C-F16F369CCE6C}" dt="2024-04-30T11:23:06.949" v="1180"/>
          <ac:spMkLst>
            <pc:docMk/>
            <pc:sldMk cId="433443105" sldId="354"/>
            <ac:spMk id="24" creationId="{1E85E34B-22E1-42B6-94A7-0885707F4F6B}"/>
          </ac:spMkLst>
        </pc:spChg>
        <pc:spChg chg="mod">
          <ac:chgData name="Everts, Susanne (Allianz Kunde und Markt)" userId="e35a5471-d092-49fe-8ba2-1b95fa53cb5e" providerId="ADAL" clId="{8C6D9FDA-9BE7-4D93-9E4C-F16F369CCE6C}" dt="2024-04-30T12:04:25.695" v="2388" actId="20577"/>
          <ac:spMkLst>
            <pc:docMk/>
            <pc:sldMk cId="433443105" sldId="354"/>
            <ac:spMk id="31" creationId="{196DF232-D1B7-44C1-94F0-3B425952DF1B}"/>
          </ac:spMkLst>
        </pc:spChg>
        <pc:spChg chg="mod">
          <ac:chgData name="Everts, Susanne (Allianz Kunde und Markt)" userId="e35a5471-d092-49fe-8ba2-1b95fa53cb5e" providerId="ADAL" clId="{8C6D9FDA-9BE7-4D93-9E4C-F16F369CCE6C}" dt="2024-05-14T10:22:03.347" v="3165" actId="20577"/>
          <ac:spMkLst>
            <pc:docMk/>
            <pc:sldMk cId="433443105" sldId="354"/>
            <ac:spMk id="107" creationId="{99DCD131-CA70-CCDD-400C-94C5144322AD}"/>
          </ac:spMkLst>
        </pc:spChg>
        <pc:spChg chg="del">
          <ac:chgData name="Everts, Susanne (Allianz Kunde und Markt)" userId="e35a5471-d092-49fe-8ba2-1b95fa53cb5e" providerId="ADAL" clId="{8C6D9FDA-9BE7-4D93-9E4C-F16F369CCE6C}" dt="2024-04-26T09:00:34.968" v="267" actId="478"/>
          <ac:spMkLst>
            <pc:docMk/>
            <pc:sldMk cId="433443105" sldId="354"/>
            <ac:spMk id="119" creationId="{74E1C11C-07B9-C496-1536-1E4A44706BB3}"/>
          </ac:spMkLst>
        </pc:spChg>
        <pc:grpChg chg="mod">
          <ac:chgData name="Everts, Susanne (Allianz Kunde und Markt)" userId="e35a5471-d092-49fe-8ba2-1b95fa53cb5e" providerId="ADAL" clId="{8C6D9FDA-9BE7-4D93-9E4C-F16F369CCE6C}" dt="2024-04-26T09:00:25.110" v="236" actId="1036"/>
          <ac:grpSpMkLst>
            <pc:docMk/>
            <pc:sldMk cId="433443105" sldId="354"/>
            <ac:grpSpMk id="22" creationId="{11FAEBEC-A5D0-BE8B-96A9-A06E049E7777}"/>
          </ac:grpSpMkLst>
        </pc:grpChg>
        <pc:grpChg chg="mod">
          <ac:chgData name="Everts, Susanne (Allianz Kunde und Markt)" userId="e35a5471-d092-49fe-8ba2-1b95fa53cb5e" providerId="ADAL" clId="{8C6D9FDA-9BE7-4D93-9E4C-F16F369CCE6C}" dt="2024-04-26T09:00:25.110" v="236" actId="1036"/>
          <ac:grpSpMkLst>
            <pc:docMk/>
            <pc:sldMk cId="433443105" sldId="354"/>
            <ac:grpSpMk id="26" creationId="{B26F311A-1607-1CAE-FBAF-CF36DF5CCEFA}"/>
          </ac:grpSpMkLst>
        </pc:grpChg>
        <pc:grpChg chg="mod">
          <ac:chgData name="Everts, Susanne (Allianz Kunde und Markt)" userId="e35a5471-d092-49fe-8ba2-1b95fa53cb5e" providerId="ADAL" clId="{8C6D9FDA-9BE7-4D93-9E4C-F16F369CCE6C}" dt="2024-04-26T09:00:31.581" v="266" actId="1035"/>
          <ac:grpSpMkLst>
            <pc:docMk/>
            <pc:sldMk cId="433443105" sldId="354"/>
            <ac:grpSpMk id="83" creationId="{D8FBC01D-0542-0662-AAEB-6BF18D7FD5B6}"/>
          </ac:grpSpMkLst>
        </pc:grpChg>
        <pc:grpChg chg="mod">
          <ac:chgData name="Everts, Susanne (Allianz Kunde und Markt)" userId="e35a5471-d092-49fe-8ba2-1b95fa53cb5e" providerId="ADAL" clId="{8C6D9FDA-9BE7-4D93-9E4C-F16F369CCE6C}" dt="2024-04-26T09:00:19.892" v="221" actId="1036"/>
          <ac:grpSpMkLst>
            <pc:docMk/>
            <pc:sldMk cId="433443105" sldId="354"/>
            <ac:grpSpMk id="104" creationId="{9FF9CE94-DCC9-D768-D5F6-36CB62B25370}"/>
          </ac:grpSpMkLst>
        </pc:grpChg>
      </pc:sldChg>
      <pc:sldChg chg="add del">
        <pc:chgData name="Everts, Susanne (Allianz Kunde und Markt)" userId="e35a5471-d092-49fe-8ba2-1b95fa53cb5e" providerId="ADAL" clId="{8C6D9FDA-9BE7-4D93-9E4C-F16F369CCE6C}" dt="2024-04-26T09:11:33.937" v="485" actId="47"/>
        <pc:sldMkLst>
          <pc:docMk/>
          <pc:sldMk cId="3481578667" sldId="356"/>
        </pc:sldMkLst>
      </pc:sldChg>
      <pc:sldChg chg="add del">
        <pc:chgData name="Everts, Susanne (Allianz Kunde und Markt)" userId="e35a5471-d092-49fe-8ba2-1b95fa53cb5e" providerId="ADAL" clId="{8C6D9FDA-9BE7-4D93-9E4C-F16F369CCE6C}" dt="2024-04-26T09:11:31.801" v="484" actId="47"/>
        <pc:sldMkLst>
          <pc:docMk/>
          <pc:sldMk cId="1196745895" sldId="357"/>
        </pc:sldMkLst>
      </pc:sldChg>
      <pc:sldChg chg="del">
        <pc:chgData name="Everts, Susanne (Allianz Kunde und Markt)" userId="e35a5471-d092-49fe-8ba2-1b95fa53cb5e" providerId="ADAL" clId="{8C6D9FDA-9BE7-4D93-9E4C-F16F369CCE6C}" dt="2024-04-26T09:06:47.819" v="455" actId="47"/>
        <pc:sldMkLst>
          <pc:docMk/>
          <pc:sldMk cId="3710801663" sldId="398"/>
        </pc:sldMkLst>
      </pc:sldChg>
      <pc:sldChg chg="delSp modSp mod">
        <pc:chgData name="Everts, Susanne (Allianz Kunde und Markt)" userId="e35a5471-d092-49fe-8ba2-1b95fa53cb5e" providerId="ADAL" clId="{8C6D9FDA-9BE7-4D93-9E4C-F16F369CCE6C}" dt="2024-05-07T08:49:07.968" v="3163" actId="20577"/>
        <pc:sldMkLst>
          <pc:docMk/>
          <pc:sldMk cId="1401358157" sldId="2147483605"/>
        </pc:sldMkLst>
        <pc:spChg chg="mod">
          <ac:chgData name="Everts, Susanne (Allianz Kunde und Markt)" userId="e35a5471-d092-49fe-8ba2-1b95fa53cb5e" providerId="ADAL" clId="{8C6D9FDA-9BE7-4D93-9E4C-F16F369CCE6C}" dt="2024-04-26T09:02:14.060" v="412" actId="14100"/>
          <ac:spMkLst>
            <pc:docMk/>
            <pc:sldMk cId="1401358157" sldId="2147483605"/>
            <ac:spMk id="2" creationId="{00000000-0000-0000-0000-000000000000}"/>
          </ac:spMkLst>
        </pc:spChg>
        <pc:spChg chg="del">
          <ac:chgData name="Everts, Susanne (Allianz Kunde und Markt)" userId="e35a5471-d092-49fe-8ba2-1b95fa53cb5e" providerId="ADAL" clId="{8C6D9FDA-9BE7-4D93-9E4C-F16F369CCE6C}" dt="2024-04-26T09:01:34.680" v="282" actId="478"/>
          <ac:spMkLst>
            <pc:docMk/>
            <pc:sldMk cId="1401358157" sldId="2147483605"/>
            <ac:spMk id="3" creationId="{38591874-5773-2F5B-294E-CB63BC14B109}"/>
          </ac:spMkLst>
        </pc:spChg>
        <pc:spChg chg="del">
          <ac:chgData name="Everts, Susanne (Allianz Kunde und Markt)" userId="e35a5471-d092-49fe-8ba2-1b95fa53cb5e" providerId="ADAL" clId="{8C6D9FDA-9BE7-4D93-9E4C-F16F369CCE6C}" dt="2024-04-26T09:01:33.306" v="281" actId="478"/>
          <ac:spMkLst>
            <pc:docMk/>
            <pc:sldMk cId="1401358157" sldId="2147483605"/>
            <ac:spMk id="4" creationId="{399E6C7F-003C-E7DB-41EA-C4F39E9F4757}"/>
          </ac:spMkLst>
        </pc:spChg>
        <pc:spChg chg="mod">
          <ac:chgData name="Everts, Susanne (Allianz Kunde und Markt)" userId="e35a5471-d092-49fe-8ba2-1b95fa53cb5e" providerId="ADAL" clId="{8C6D9FDA-9BE7-4D93-9E4C-F16F369CCE6C}" dt="2024-05-07T08:44:41.326" v="3110" actId="1036"/>
          <ac:spMkLst>
            <pc:docMk/>
            <pc:sldMk cId="1401358157" sldId="2147483605"/>
            <ac:spMk id="12" creationId="{CED220EE-0716-C301-8995-50B88463AC5F}"/>
          </ac:spMkLst>
        </pc:spChg>
        <pc:spChg chg="del mod">
          <ac:chgData name="Everts, Susanne (Allianz Kunde und Markt)" userId="e35a5471-d092-49fe-8ba2-1b95fa53cb5e" providerId="ADAL" clId="{8C6D9FDA-9BE7-4D93-9E4C-F16F369CCE6C}" dt="2024-05-07T08:44:21.191" v="3095" actId="478"/>
          <ac:spMkLst>
            <pc:docMk/>
            <pc:sldMk cId="1401358157" sldId="2147483605"/>
            <ac:spMk id="13" creationId="{B321902D-4157-BE4B-FA9A-4BB4AC4EB3E8}"/>
          </ac:spMkLst>
        </pc:spChg>
        <pc:spChg chg="mod">
          <ac:chgData name="Everts, Susanne (Allianz Kunde und Markt)" userId="e35a5471-d092-49fe-8ba2-1b95fa53cb5e" providerId="ADAL" clId="{8C6D9FDA-9BE7-4D93-9E4C-F16F369CCE6C}" dt="2024-05-07T08:44:44.990" v="3125" actId="1036"/>
          <ac:spMkLst>
            <pc:docMk/>
            <pc:sldMk cId="1401358157" sldId="2147483605"/>
            <ac:spMk id="14" creationId="{C5E03B4F-948E-D9E0-3F90-93DCA5D0EF67}"/>
          </ac:spMkLst>
        </pc:spChg>
        <pc:spChg chg="mod">
          <ac:chgData name="Everts, Susanne (Allianz Kunde und Markt)" userId="e35a5471-d092-49fe-8ba2-1b95fa53cb5e" providerId="ADAL" clId="{8C6D9FDA-9BE7-4D93-9E4C-F16F369CCE6C}" dt="2024-04-26T09:02:14.060" v="412" actId="14100"/>
          <ac:spMkLst>
            <pc:docMk/>
            <pc:sldMk cId="1401358157" sldId="2147483605"/>
            <ac:spMk id="15" creationId="{00000000-0000-0000-0000-000000000000}"/>
          </ac:spMkLst>
        </pc:spChg>
        <pc:spChg chg="del">
          <ac:chgData name="Everts, Susanne (Allianz Kunde und Markt)" userId="e35a5471-d092-49fe-8ba2-1b95fa53cb5e" providerId="ADAL" clId="{8C6D9FDA-9BE7-4D93-9E4C-F16F369CCE6C}" dt="2024-04-26T09:01:31.470" v="280" actId="478"/>
          <ac:spMkLst>
            <pc:docMk/>
            <pc:sldMk cId="1401358157" sldId="2147483605"/>
            <ac:spMk id="16" creationId="{899D72F9-821C-8B33-030E-7BA4CC9C3808}"/>
          </ac:spMkLst>
        </pc:spChg>
        <pc:spChg chg="mod">
          <ac:chgData name="Everts, Susanne (Allianz Kunde und Markt)" userId="e35a5471-d092-49fe-8ba2-1b95fa53cb5e" providerId="ADAL" clId="{8C6D9FDA-9BE7-4D93-9E4C-F16F369CCE6C}" dt="2024-05-07T08:49:07.968" v="3163" actId="20577"/>
          <ac:spMkLst>
            <pc:docMk/>
            <pc:sldMk cId="1401358157" sldId="2147483605"/>
            <ac:spMk id="17" creationId="{EFEA0999-7791-4F4B-8AB8-C15542F07BB4}"/>
          </ac:spMkLst>
        </pc:spChg>
        <pc:spChg chg="mod">
          <ac:chgData name="Everts, Susanne (Allianz Kunde und Markt)" userId="e35a5471-d092-49fe-8ba2-1b95fa53cb5e" providerId="ADAL" clId="{8C6D9FDA-9BE7-4D93-9E4C-F16F369CCE6C}" dt="2024-04-30T11:23:13.105" v="1183" actId="20577"/>
          <ac:spMkLst>
            <pc:docMk/>
            <pc:sldMk cId="1401358157" sldId="2147483605"/>
            <ac:spMk id="24" creationId="{1E85E34B-22E1-42B6-94A7-0885707F4F6B}"/>
          </ac:spMkLst>
        </pc:spChg>
        <pc:spChg chg="mod">
          <ac:chgData name="Everts, Susanne (Allianz Kunde und Markt)" userId="e35a5471-d092-49fe-8ba2-1b95fa53cb5e" providerId="ADAL" clId="{8C6D9FDA-9BE7-4D93-9E4C-F16F369CCE6C}" dt="2024-04-30T12:04:21.801" v="2386" actId="20577"/>
          <ac:spMkLst>
            <pc:docMk/>
            <pc:sldMk cId="1401358157" sldId="2147483605"/>
            <ac:spMk id="31" creationId="{196DF232-D1B7-44C1-94F0-3B425952DF1B}"/>
          </ac:spMkLst>
        </pc:spChg>
        <pc:spChg chg="mod">
          <ac:chgData name="Everts, Susanne (Allianz Kunde und Markt)" userId="e35a5471-d092-49fe-8ba2-1b95fa53cb5e" providerId="ADAL" clId="{8C6D9FDA-9BE7-4D93-9E4C-F16F369CCE6C}" dt="2024-05-07T08:44:13.504" v="3093" actId="20577"/>
          <ac:spMkLst>
            <pc:docMk/>
            <pc:sldMk cId="1401358157" sldId="2147483605"/>
            <ac:spMk id="78" creationId="{EFEA0999-7791-4F4B-8AB8-C15542F07BB4}"/>
          </ac:spMkLst>
        </pc:spChg>
        <pc:cxnChg chg="del">
          <ac:chgData name="Everts, Susanne (Allianz Kunde und Markt)" userId="e35a5471-d092-49fe-8ba2-1b95fa53cb5e" providerId="ADAL" clId="{8C6D9FDA-9BE7-4D93-9E4C-F16F369CCE6C}" dt="2024-04-26T09:01:37.770" v="283" actId="478"/>
          <ac:cxnSpMkLst>
            <pc:docMk/>
            <pc:sldMk cId="1401358157" sldId="2147483605"/>
            <ac:cxnSpMk id="6" creationId="{01E4A3F0-EB49-0B8F-D60E-E70A7C91BA2F}"/>
          </ac:cxnSpMkLst>
        </pc:cxnChg>
        <pc:cxnChg chg="mod">
          <ac:chgData name="Everts, Susanne (Allianz Kunde und Markt)" userId="e35a5471-d092-49fe-8ba2-1b95fa53cb5e" providerId="ADAL" clId="{8C6D9FDA-9BE7-4D93-9E4C-F16F369CCE6C}" dt="2024-05-07T08:45:34.719" v="3162" actId="14100"/>
          <ac:cxnSpMkLst>
            <pc:docMk/>
            <pc:sldMk cId="1401358157" sldId="2147483605"/>
            <ac:cxnSpMk id="81" creationId="{E7640863-8014-404E-A750-1C6D1E5FAA21}"/>
          </ac:cxnSpMkLst>
        </pc:cxnChg>
      </pc:sldChg>
      <pc:sldChg chg="del">
        <pc:chgData name="Everts, Susanne (Allianz Kunde und Markt)" userId="e35a5471-d092-49fe-8ba2-1b95fa53cb5e" providerId="ADAL" clId="{8C6D9FDA-9BE7-4D93-9E4C-F16F369CCE6C}" dt="2024-04-26T09:06:42.785" v="454" actId="47"/>
        <pc:sldMkLst>
          <pc:docMk/>
          <pc:sldMk cId="2064112028" sldId="2147483606"/>
        </pc:sldMkLst>
      </pc:sldChg>
      <pc:sldChg chg="addSp delSp modSp mod">
        <pc:chgData name="Everts, Susanne (Allianz Kunde und Markt)" userId="e35a5471-d092-49fe-8ba2-1b95fa53cb5e" providerId="ADAL" clId="{8C6D9FDA-9BE7-4D93-9E4C-F16F369CCE6C}" dt="2024-05-07T08:27:19.352" v="3058" actId="1036"/>
        <pc:sldMkLst>
          <pc:docMk/>
          <pc:sldMk cId="809935971" sldId="2147483607"/>
        </pc:sldMkLst>
        <pc:spChg chg="del">
          <ac:chgData name="Everts, Susanne (Allianz Kunde und Markt)" userId="e35a5471-d092-49fe-8ba2-1b95fa53cb5e" providerId="ADAL" clId="{8C6D9FDA-9BE7-4D93-9E4C-F16F369CCE6C}" dt="2024-04-26T09:09:32.913" v="472" actId="478"/>
          <ac:spMkLst>
            <pc:docMk/>
            <pc:sldMk cId="809935971" sldId="2147483607"/>
            <ac:spMk id="6" creationId="{725C98B6-7C5A-B82D-0F45-6DF536BF1FEA}"/>
          </ac:spMkLst>
        </pc:spChg>
        <pc:spChg chg="del">
          <ac:chgData name="Everts, Susanne (Allianz Kunde und Markt)" userId="e35a5471-d092-49fe-8ba2-1b95fa53cb5e" providerId="ADAL" clId="{8C6D9FDA-9BE7-4D93-9E4C-F16F369CCE6C}" dt="2024-04-26T09:09:32.913" v="472" actId="478"/>
          <ac:spMkLst>
            <pc:docMk/>
            <pc:sldMk cId="809935971" sldId="2147483607"/>
            <ac:spMk id="7" creationId="{E7013C6B-9EF1-5DA9-5110-D3D0DDC0A211}"/>
          </ac:spMkLst>
        </pc:spChg>
        <pc:spChg chg="del">
          <ac:chgData name="Everts, Susanne (Allianz Kunde und Markt)" userId="e35a5471-d092-49fe-8ba2-1b95fa53cb5e" providerId="ADAL" clId="{8C6D9FDA-9BE7-4D93-9E4C-F16F369CCE6C}" dt="2024-04-26T09:09:32.913" v="472" actId="478"/>
          <ac:spMkLst>
            <pc:docMk/>
            <pc:sldMk cId="809935971" sldId="2147483607"/>
            <ac:spMk id="8" creationId="{72D4BFB2-B91C-219B-8499-C81FDEACBBB7}"/>
          </ac:spMkLst>
        </pc:spChg>
        <pc:spChg chg="add del">
          <ac:chgData name="Everts, Susanne (Allianz Kunde und Markt)" userId="e35a5471-d092-49fe-8ba2-1b95fa53cb5e" providerId="ADAL" clId="{8C6D9FDA-9BE7-4D93-9E4C-F16F369CCE6C}" dt="2024-04-26T09:27:01.367" v="740" actId="478"/>
          <ac:spMkLst>
            <pc:docMk/>
            <pc:sldMk cId="809935971" sldId="2147483607"/>
            <ac:spMk id="10" creationId="{5D9BA31A-112D-494E-B586-25502FA14894}"/>
          </ac:spMkLst>
        </pc:spChg>
        <pc:spChg chg="del">
          <ac:chgData name="Everts, Susanne (Allianz Kunde und Markt)" userId="e35a5471-d092-49fe-8ba2-1b95fa53cb5e" providerId="ADAL" clId="{8C6D9FDA-9BE7-4D93-9E4C-F16F369CCE6C}" dt="2024-04-26T09:09:32.913" v="472" actId="478"/>
          <ac:spMkLst>
            <pc:docMk/>
            <pc:sldMk cId="809935971" sldId="2147483607"/>
            <ac:spMk id="11" creationId="{2A545630-02A4-75F3-F76F-595BF95876B0}"/>
          </ac:spMkLst>
        </pc:spChg>
        <pc:spChg chg="del">
          <ac:chgData name="Everts, Susanne (Allianz Kunde und Markt)" userId="e35a5471-d092-49fe-8ba2-1b95fa53cb5e" providerId="ADAL" clId="{8C6D9FDA-9BE7-4D93-9E4C-F16F369CCE6C}" dt="2024-04-26T09:09:32.913" v="472" actId="478"/>
          <ac:spMkLst>
            <pc:docMk/>
            <pc:sldMk cId="809935971" sldId="2147483607"/>
            <ac:spMk id="12" creationId="{0A1F5B13-2DCB-CBCE-248D-256AE93116CE}"/>
          </ac:spMkLst>
        </pc:spChg>
        <pc:spChg chg="del">
          <ac:chgData name="Everts, Susanne (Allianz Kunde und Markt)" userId="e35a5471-d092-49fe-8ba2-1b95fa53cb5e" providerId="ADAL" clId="{8C6D9FDA-9BE7-4D93-9E4C-F16F369CCE6C}" dt="2024-04-26T09:09:32.913" v="472" actId="478"/>
          <ac:spMkLst>
            <pc:docMk/>
            <pc:sldMk cId="809935971" sldId="2147483607"/>
            <ac:spMk id="13" creationId="{0457D775-2F23-EFB0-8A64-CFD9949BA58D}"/>
          </ac:spMkLst>
        </pc:spChg>
        <pc:spChg chg="del">
          <ac:chgData name="Everts, Susanne (Allianz Kunde und Markt)" userId="e35a5471-d092-49fe-8ba2-1b95fa53cb5e" providerId="ADAL" clId="{8C6D9FDA-9BE7-4D93-9E4C-F16F369CCE6C}" dt="2024-04-26T09:09:32.913" v="472" actId="478"/>
          <ac:spMkLst>
            <pc:docMk/>
            <pc:sldMk cId="809935971" sldId="2147483607"/>
            <ac:spMk id="14" creationId="{36D5C361-9D87-1B52-140C-D157B5F267B2}"/>
          </ac:spMkLst>
        </pc:spChg>
        <pc:spChg chg="del">
          <ac:chgData name="Everts, Susanne (Allianz Kunde und Markt)" userId="e35a5471-d092-49fe-8ba2-1b95fa53cb5e" providerId="ADAL" clId="{8C6D9FDA-9BE7-4D93-9E4C-F16F369CCE6C}" dt="2024-04-26T09:09:32.913" v="472" actId="478"/>
          <ac:spMkLst>
            <pc:docMk/>
            <pc:sldMk cId="809935971" sldId="2147483607"/>
            <ac:spMk id="15" creationId="{822E3958-AF0F-F222-D5A5-480AA4E58804}"/>
          </ac:spMkLst>
        </pc:spChg>
        <pc:spChg chg="del">
          <ac:chgData name="Everts, Susanne (Allianz Kunde und Markt)" userId="e35a5471-d092-49fe-8ba2-1b95fa53cb5e" providerId="ADAL" clId="{8C6D9FDA-9BE7-4D93-9E4C-F16F369CCE6C}" dt="2024-04-26T09:09:32.913" v="472" actId="478"/>
          <ac:spMkLst>
            <pc:docMk/>
            <pc:sldMk cId="809935971" sldId="2147483607"/>
            <ac:spMk id="16" creationId="{79AC3F32-0EFD-BED8-B790-369ADF657B43}"/>
          </ac:spMkLst>
        </pc:spChg>
        <pc:spChg chg="add mod">
          <ac:chgData name="Everts, Susanne (Allianz Kunde und Markt)" userId="e35a5471-d092-49fe-8ba2-1b95fa53cb5e" providerId="ADAL" clId="{8C6D9FDA-9BE7-4D93-9E4C-F16F369CCE6C}" dt="2024-05-07T08:27:09.666" v="3039" actId="1037"/>
          <ac:spMkLst>
            <pc:docMk/>
            <pc:sldMk cId="809935971" sldId="2147483607"/>
            <ac:spMk id="17" creationId="{0318669C-758F-0EF1-5194-563FF2B9E5C9}"/>
          </ac:spMkLst>
        </pc:spChg>
        <pc:spChg chg="del">
          <ac:chgData name="Everts, Susanne (Allianz Kunde und Markt)" userId="e35a5471-d092-49fe-8ba2-1b95fa53cb5e" providerId="ADAL" clId="{8C6D9FDA-9BE7-4D93-9E4C-F16F369CCE6C}" dt="2024-04-26T09:09:32.913" v="472" actId="478"/>
          <ac:spMkLst>
            <pc:docMk/>
            <pc:sldMk cId="809935971" sldId="2147483607"/>
            <ac:spMk id="18" creationId="{1EB59408-8605-EBC6-4B33-1C41F77F8CE5}"/>
          </ac:spMkLst>
        </pc:spChg>
        <pc:spChg chg="del">
          <ac:chgData name="Everts, Susanne (Allianz Kunde und Markt)" userId="e35a5471-d092-49fe-8ba2-1b95fa53cb5e" providerId="ADAL" clId="{8C6D9FDA-9BE7-4D93-9E4C-F16F369CCE6C}" dt="2024-04-26T09:09:32.913" v="472" actId="478"/>
          <ac:spMkLst>
            <pc:docMk/>
            <pc:sldMk cId="809935971" sldId="2147483607"/>
            <ac:spMk id="19" creationId="{41D2AAD6-1FC1-A80F-AA4F-D2CB99FB3318}"/>
          </ac:spMkLst>
        </pc:spChg>
        <pc:spChg chg="del">
          <ac:chgData name="Everts, Susanne (Allianz Kunde und Markt)" userId="e35a5471-d092-49fe-8ba2-1b95fa53cb5e" providerId="ADAL" clId="{8C6D9FDA-9BE7-4D93-9E4C-F16F369CCE6C}" dt="2024-04-26T09:09:32.913" v="472" actId="478"/>
          <ac:spMkLst>
            <pc:docMk/>
            <pc:sldMk cId="809935971" sldId="2147483607"/>
            <ac:spMk id="20" creationId="{76964B84-7DC7-F908-FFA8-2D708432F1C1}"/>
          </ac:spMkLst>
        </pc:spChg>
        <pc:spChg chg="del">
          <ac:chgData name="Everts, Susanne (Allianz Kunde und Markt)" userId="e35a5471-d092-49fe-8ba2-1b95fa53cb5e" providerId="ADAL" clId="{8C6D9FDA-9BE7-4D93-9E4C-F16F369CCE6C}" dt="2024-04-26T09:09:32.913" v="472" actId="478"/>
          <ac:spMkLst>
            <pc:docMk/>
            <pc:sldMk cId="809935971" sldId="2147483607"/>
            <ac:spMk id="21" creationId="{CBA5C314-59FB-4FCF-23A1-4290E6D9F3A7}"/>
          </ac:spMkLst>
        </pc:spChg>
        <pc:spChg chg="del">
          <ac:chgData name="Everts, Susanne (Allianz Kunde und Markt)" userId="e35a5471-d092-49fe-8ba2-1b95fa53cb5e" providerId="ADAL" clId="{8C6D9FDA-9BE7-4D93-9E4C-F16F369CCE6C}" dt="2024-04-26T09:09:32.913" v="472" actId="478"/>
          <ac:spMkLst>
            <pc:docMk/>
            <pc:sldMk cId="809935971" sldId="2147483607"/>
            <ac:spMk id="22" creationId="{82F0549D-D648-2561-976C-128C30A6A214}"/>
          </ac:spMkLst>
        </pc:spChg>
        <pc:spChg chg="del">
          <ac:chgData name="Everts, Susanne (Allianz Kunde und Markt)" userId="e35a5471-d092-49fe-8ba2-1b95fa53cb5e" providerId="ADAL" clId="{8C6D9FDA-9BE7-4D93-9E4C-F16F369CCE6C}" dt="2024-04-26T09:09:32.913" v="472" actId="478"/>
          <ac:spMkLst>
            <pc:docMk/>
            <pc:sldMk cId="809935971" sldId="2147483607"/>
            <ac:spMk id="23" creationId="{6E09250A-E2AA-84E2-8C70-CEFD35F88567}"/>
          </ac:spMkLst>
        </pc:spChg>
        <pc:spChg chg="del">
          <ac:chgData name="Everts, Susanne (Allianz Kunde und Markt)" userId="e35a5471-d092-49fe-8ba2-1b95fa53cb5e" providerId="ADAL" clId="{8C6D9FDA-9BE7-4D93-9E4C-F16F369CCE6C}" dt="2024-04-26T09:09:32.913" v="472" actId="478"/>
          <ac:spMkLst>
            <pc:docMk/>
            <pc:sldMk cId="809935971" sldId="2147483607"/>
            <ac:spMk id="24" creationId="{370A634F-0681-ED1F-509A-F4D88313D437}"/>
          </ac:spMkLst>
        </pc:spChg>
        <pc:spChg chg="add mod">
          <ac:chgData name="Everts, Susanne (Allianz Kunde und Markt)" userId="e35a5471-d092-49fe-8ba2-1b95fa53cb5e" providerId="ADAL" clId="{8C6D9FDA-9BE7-4D93-9E4C-F16F369CCE6C}" dt="2024-05-07T08:27:13.562" v="3040" actId="14100"/>
          <ac:spMkLst>
            <pc:docMk/>
            <pc:sldMk cId="809935971" sldId="2147483607"/>
            <ac:spMk id="25" creationId="{B279EED1-A8CC-AC5B-D4F4-B5366FE65E23}"/>
          </ac:spMkLst>
        </pc:spChg>
        <pc:spChg chg="add del mod">
          <ac:chgData name="Everts, Susanne (Allianz Kunde und Markt)" userId="e35a5471-d092-49fe-8ba2-1b95fa53cb5e" providerId="ADAL" clId="{8C6D9FDA-9BE7-4D93-9E4C-F16F369CCE6C}" dt="2024-05-07T08:27:09.666" v="3039" actId="1037"/>
          <ac:spMkLst>
            <pc:docMk/>
            <pc:sldMk cId="809935971" sldId="2147483607"/>
            <ac:spMk id="26" creationId="{E56D27F9-29B1-5873-E5C3-C975804FACB6}"/>
          </ac:spMkLst>
        </pc:spChg>
        <pc:spChg chg="add del mod">
          <ac:chgData name="Everts, Susanne (Allianz Kunde und Markt)" userId="e35a5471-d092-49fe-8ba2-1b95fa53cb5e" providerId="ADAL" clId="{8C6D9FDA-9BE7-4D93-9E4C-F16F369CCE6C}" dt="2024-05-07T08:27:09.666" v="3039" actId="1037"/>
          <ac:spMkLst>
            <pc:docMk/>
            <pc:sldMk cId="809935971" sldId="2147483607"/>
            <ac:spMk id="27" creationId="{DD020124-1930-82B4-065B-E6EA8D4DB290}"/>
          </ac:spMkLst>
        </pc:spChg>
        <pc:spChg chg="add del mod">
          <ac:chgData name="Everts, Susanne (Allianz Kunde und Markt)" userId="e35a5471-d092-49fe-8ba2-1b95fa53cb5e" providerId="ADAL" clId="{8C6D9FDA-9BE7-4D93-9E4C-F16F369CCE6C}" dt="2024-05-07T08:27:09.666" v="3039" actId="1037"/>
          <ac:spMkLst>
            <pc:docMk/>
            <pc:sldMk cId="809935971" sldId="2147483607"/>
            <ac:spMk id="28" creationId="{A785111D-FE4A-6AFC-C7CD-3D8DADFA7E69}"/>
          </ac:spMkLst>
        </pc:spChg>
        <pc:spChg chg="add mod">
          <ac:chgData name="Everts, Susanne (Allianz Kunde und Markt)" userId="e35a5471-d092-49fe-8ba2-1b95fa53cb5e" providerId="ADAL" clId="{8C6D9FDA-9BE7-4D93-9E4C-F16F369CCE6C}" dt="2024-05-07T08:27:19.352" v="3058" actId="1036"/>
          <ac:spMkLst>
            <pc:docMk/>
            <pc:sldMk cId="809935971" sldId="2147483607"/>
            <ac:spMk id="29" creationId="{8E9975AB-B008-DC2D-D564-429F71E6A613}"/>
          </ac:spMkLst>
        </pc:spChg>
        <pc:spChg chg="mod">
          <ac:chgData name="Everts, Susanne (Allianz Kunde und Markt)" userId="e35a5471-d092-49fe-8ba2-1b95fa53cb5e" providerId="ADAL" clId="{8C6D9FDA-9BE7-4D93-9E4C-F16F369CCE6C}" dt="2024-04-26T09:18:48.412" v="530" actId="20577"/>
          <ac:spMkLst>
            <pc:docMk/>
            <pc:sldMk cId="809935971" sldId="2147483607"/>
            <ac:spMk id="31" creationId="{00000000-0000-0000-0000-000000000000}"/>
          </ac:spMkLst>
        </pc:spChg>
        <pc:spChg chg="del">
          <ac:chgData name="Everts, Susanne (Allianz Kunde und Markt)" userId="e35a5471-d092-49fe-8ba2-1b95fa53cb5e" providerId="ADAL" clId="{8C6D9FDA-9BE7-4D93-9E4C-F16F369CCE6C}" dt="2024-04-26T09:09:32.913" v="472" actId="478"/>
          <ac:spMkLst>
            <pc:docMk/>
            <pc:sldMk cId="809935971" sldId="2147483607"/>
            <ac:spMk id="33" creationId="{CF8EC47C-A5AD-1A75-DC58-A52C4F4E0034}"/>
          </ac:spMkLst>
        </pc:spChg>
        <pc:spChg chg="del">
          <ac:chgData name="Everts, Susanne (Allianz Kunde und Markt)" userId="e35a5471-d092-49fe-8ba2-1b95fa53cb5e" providerId="ADAL" clId="{8C6D9FDA-9BE7-4D93-9E4C-F16F369CCE6C}" dt="2024-04-26T09:09:32.913" v="472" actId="478"/>
          <ac:spMkLst>
            <pc:docMk/>
            <pc:sldMk cId="809935971" sldId="2147483607"/>
            <ac:spMk id="34" creationId="{3772EE7E-6C26-1987-6511-927138A8D1FB}"/>
          </ac:spMkLst>
        </pc:spChg>
        <pc:spChg chg="add mod topLvl">
          <ac:chgData name="Everts, Susanne (Allianz Kunde und Markt)" userId="e35a5471-d092-49fe-8ba2-1b95fa53cb5e" providerId="ADAL" clId="{8C6D9FDA-9BE7-4D93-9E4C-F16F369CCE6C}" dt="2024-04-26T09:26:49.020" v="732" actId="164"/>
          <ac:spMkLst>
            <pc:docMk/>
            <pc:sldMk cId="809935971" sldId="2147483607"/>
            <ac:spMk id="35" creationId="{81BA3D2D-4912-2E30-64F1-2DCF35783DDC}"/>
          </ac:spMkLst>
        </pc:spChg>
        <pc:spChg chg="mod">
          <ac:chgData name="Everts, Susanne (Allianz Kunde und Markt)" userId="e35a5471-d092-49fe-8ba2-1b95fa53cb5e" providerId="ADAL" clId="{8C6D9FDA-9BE7-4D93-9E4C-F16F369CCE6C}" dt="2024-04-30T12:03:52.547" v="2374" actId="20577"/>
          <ac:spMkLst>
            <pc:docMk/>
            <pc:sldMk cId="809935971" sldId="2147483607"/>
            <ac:spMk id="36" creationId="{196DF232-D1B7-44C1-94F0-3B425952DF1B}"/>
          </ac:spMkLst>
        </pc:spChg>
        <pc:spChg chg="mod">
          <ac:chgData name="Everts, Susanne (Allianz Kunde und Markt)" userId="e35a5471-d092-49fe-8ba2-1b95fa53cb5e" providerId="ADAL" clId="{8C6D9FDA-9BE7-4D93-9E4C-F16F369CCE6C}" dt="2024-04-30T11:23:40.897" v="1192"/>
          <ac:spMkLst>
            <pc:docMk/>
            <pc:sldMk cId="809935971" sldId="2147483607"/>
            <ac:spMk id="37" creationId="{1E85E34B-22E1-42B6-94A7-0885707F4F6B}"/>
          </ac:spMkLst>
        </pc:spChg>
        <pc:spChg chg="del">
          <ac:chgData name="Everts, Susanne (Allianz Kunde und Markt)" userId="e35a5471-d092-49fe-8ba2-1b95fa53cb5e" providerId="ADAL" clId="{8C6D9FDA-9BE7-4D93-9E4C-F16F369CCE6C}" dt="2024-04-26T09:09:32.913" v="472" actId="478"/>
          <ac:spMkLst>
            <pc:docMk/>
            <pc:sldMk cId="809935971" sldId="2147483607"/>
            <ac:spMk id="38" creationId="{00000000-0000-0000-0000-000000000000}"/>
          </ac:spMkLst>
        </pc:spChg>
        <pc:spChg chg="add mod topLvl">
          <ac:chgData name="Everts, Susanne (Allianz Kunde und Markt)" userId="e35a5471-d092-49fe-8ba2-1b95fa53cb5e" providerId="ADAL" clId="{8C6D9FDA-9BE7-4D93-9E4C-F16F369CCE6C}" dt="2024-04-26T09:26:49.020" v="732" actId="164"/>
          <ac:spMkLst>
            <pc:docMk/>
            <pc:sldMk cId="809935971" sldId="2147483607"/>
            <ac:spMk id="39" creationId="{5E3C4776-EE81-BFE3-B90A-665BA956EEA3}"/>
          </ac:spMkLst>
        </pc:spChg>
        <pc:spChg chg="add mod topLvl">
          <ac:chgData name="Everts, Susanne (Allianz Kunde und Markt)" userId="e35a5471-d092-49fe-8ba2-1b95fa53cb5e" providerId="ADAL" clId="{8C6D9FDA-9BE7-4D93-9E4C-F16F369CCE6C}" dt="2024-04-26T09:26:49.020" v="732" actId="164"/>
          <ac:spMkLst>
            <pc:docMk/>
            <pc:sldMk cId="809935971" sldId="2147483607"/>
            <ac:spMk id="40" creationId="{37025448-E49D-B370-FB32-20FF7175AA8A}"/>
          </ac:spMkLst>
        </pc:spChg>
        <pc:spChg chg="add mod topLvl">
          <ac:chgData name="Everts, Susanne (Allianz Kunde und Markt)" userId="e35a5471-d092-49fe-8ba2-1b95fa53cb5e" providerId="ADAL" clId="{8C6D9FDA-9BE7-4D93-9E4C-F16F369CCE6C}" dt="2024-04-26T09:26:49.020" v="732" actId="164"/>
          <ac:spMkLst>
            <pc:docMk/>
            <pc:sldMk cId="809935971" sldId="2147483607"/>
            <ac:spMk id="41" creationId="{50A7DA2A-657F-B351-3EBC-617BDA08B5F9}"/>
          </ac:spMkLst>
        </pc:spChg>
        <pc:spChg chg="add mod topLvl">
          <ac:chgData name="Everts, Susanne (Allianz Kunde und Markt)" userId="e35a5471-d092-49fe-8ba2-1b95fa53cb5e" providerId="ADAL" clId="{8C6D9FDA-9BE7-4D93-9E4C-F16F369CCE6C}" dt="2024-04-26T09:26:49.020" v="732" actId="164"/>
          <ac:spMkLst>
            <pc:docMk/>
            <pc:sldMk cId="809935971" sldId="2147483607"/>
            <ac:spMk id="44" creationId="{6538C43F-DF02-F152-0839-4587CDDCF539}"/>
          </ac:spMkLst>
        </pc:spChg>
        <pc:spChg chg="add mod topLvl">
          <ac:chgData name="Everts, Susanne (Allianz Kunde und Markt)" userId="e35a5471-d092-49fe-8ba2-1b95fa53cb5e" providerId="ADAL" clId="{8C6D9FDA-9BE7-4D93-9E4C-F16F369CCE6C}" dt="2024-04-26T09:26:49.020" v="732" actId="164"/>
          <ac:spMkLst>
            <pc:docMk/>
            <pc:sldMk cId="809935971" sldId="2147483607"/>
            <ac:spMk id="45" creationId="{881C66A7-F3C4-3F02-F0C8-8B925B8C4952}"/>
          </ac:spMkLst>
        </pc:spChg>
        <pc:spChg chg="add mod topLvl">
          <ac:chgData name="Everts, Susanne (Allianz Kunde und Markt)" userId="e35a5471-d092-49fe-8ba2-1b95fa53cb5e" providerId="ADAL" clId="{8C6D9FDA-9BE7-4D93-9E4C-F16F369CCE6C}" dt="2024-04-26T09:26:49.020" v="732" actId="164"/>
          <ac:spMkLst>
            <pc:docMk/>
            <pc:sldMk cId="809935971" sldId="2147483607"/>
            <ac:spMk id="46" creationId="{29DB9A15-53EF-16B8-B17E-0C3516E3C1F8}"/>
          </ac:spMkLst>
        </pc:spChg>
        <pc:spChg chg="add mod topLvl">
          <ac:chgData name="Everts, Susanne (Allianz Kunde und Markt)" userId="e35a5471-d092-49fe-8ba2-1b95fa53cb5e" providerId="ADAL" clId="{8C6D9FDA-9BE7-4D93-9E4C-F16F369CCE6C}" dt="2024-04-26T09:26:49.020" v="732" actId="164"/>
          <ac:spMkLst>
            <pc:docMk/>
            <pc:sldMk cId="809935971" sldId="2147483607"/>
            <ac:spMk id="47" creationId="{66D0770E-E034-B3A6-BA3D-61C51AFFA02F}"/>
          </ac:spMkLst>
        </pc:spChg>
        <pc:spChg chg="mod">
          <ac:chgData name="Everts, Susanne (Allianz Kunde und Markt)" userId="e35a5471-d092-49fe-8ba2-1b95fa53cb5e" providerId="ADAL" clId="{8C6D9FDA-9BE7-4D93-9E4C-F16F369CCE6C}" dt="2024-04-26T09:24:04.265" v="699"/>
          <ac:spMkLst>
            <pc:docMk/>
            <pc:sldMk cId="809935971" sldId="2147483607"/>
            <ac:spMk id="51" creationId="{392A6AA1-25FF-0A4F-BF05-3AAE9963B74A}"/>
          </ac:spMkLst>
        </pc:spChg>
        <pc:spChg chg="mod">
          <ac:chgData name="Everts, Susanne (Allianz Kunde und Markt)" userId="e35a5471-d092-49fe-8ba2-1b95fa53cb5e" providerId="ADAL" clId="{8C6D9FDA-9BE7-4D93-9E4C-F16F369CCE6C}" dt="2024-04-26T09:24:04.265" v="699"/>
          <ac:spMkLst>
            <pc:docMk/>
            <pc:sldMk cId="809935971" sldId="2147483607"/>
            <ac:spMk id="52" creationId="{E30E0B8F-B727-B2A1-B9E6-6F0655F8C956}"/>
          </ac:spMkLst>
        </pc:spChg>
        <pc:spChg chg="mod">
          <ac:chgData name="Everts, Susanne (Allianz Kunde und Markt)" userId="e35a5471-d092-49fe-8ba2-1b95fa53cb5e" providerId="ADAL" clId="{8C6D9FDA-9BE7-4D93-9E4C-F16F369CCE6C}" dt="2024-04-26T09:24:04.265" v="699"/>
          <ac:spMkLst>
            <pc:docMk/>
            <pc:sldMk cId="809935971" sldId="2147483607"/>
            <ac:spMk id="53" creationId="{CEA66174-8197-52B9-D5BC-9F5D2A4BD65E}"/>
          </ac:spMkLst>
        </pc:spChg>
        <pc:spChg chg="mod">
          <ac:chgData name="Everts, Susanne (Allianz Kunde und Markt)" userId="e35a5471-d092-49fe-8ba2-1b95fa53cb5e" providerId="ADAL" clId="{8C6D9FDA-9BE7-4D93-9E4C-F16F369CCE6C}" dt="2024-04-26T09:24:04.265" v="699"/>
          <ac:spMkLst>
            <pc:docMk/>
            <pc:sldMk cId="809935971" sldId="2147483607"/>
            <ac:spMk id="54" creationId="{2F9C3815-040E-B1C0-F5B1-76D5DE58A5A6}"/>
          </ac:spMkLst>
        </pc:spChg>
        <pc:spChg chg="mod">
          <ac:chgData name="Everts, Susanne (Allianz Kunde und Markt)" userId="e35a5471-d092-49fe-8ba2-1b95fa53cb5e" providerId="ADAL" clId="{8C6D9FDA-9BE7-4D93-9E4C-F16F369CCE6C}" dt="2024-04-26T09:24:04.265" v="699"/>
          <ac:spMkLst>
            <pc:docMk/>
            <pc:sldMk cId="809935971" sldId="2147483607"/>
            <ac:spMk id="55" creationId="{032C2396-40C1-6155-016E-0F701BB03F2D}"/>
          </ac:spMkLst>
        </pc:spChg>
        <pc:spChg chg="mod">
          <ac:chgData name="Everts, Susanne (Allianz Kunde und Markt)" userId="e35a5471-d092-49fe-8ba2-1b95fa53cb5e" providerId="ADAL" clId="{8C6D9FDA-9BE7-4D93-9E4C-F16F369CCE6C}" dt="2024-04-26T09:24:04.265" v="699"/>
          <ac:spMkLst>
            <pc:docMk/>
            <pc:sldMk cId="809935971" sldId="2147483607"/>
            <ac:spMk id="56" creationId="{29F41F44-62A5-1B5E-B6F1-528F75378027}"/>
          </ac:spMkLst>
        </pc:spChg>
        <pc:spChg chg="mod">
          <ac:chgData name="Everts, Susanne (Allianz Kunde und Markt)" userId="e35a5471-d092-49fe-8ba2-1b95fa53cb5e" providerId="ADAL" clId="{8C6D9FDA-9BE7-4D93-9E4C-F16F369CCE6C}" dt="2024-04-26T09:24:04.265" v="699"/>
          <ac:spMkLst>
            <pc:docMk/>
            <pc:sldMk cId="809935971" sldId="2147483607"/>
            <ac:spMk id="57" creationId="{D68F9D24-31E5-27C5-14B9-C0D014DE654B}"/>
          </ac:spMkLst>
        </pc:spChg>
        <pc:spChg chg="mod">
          <ac:chgData name="Everts, Susanne (Allianz Kunde und Markt)" userId="e35a5471-d092-49fe-8ba2-1b95fa53cb5e" providerId="ADAL" clId="{8C6D9FDA-9BE7-4D93-9E4C-F16F369CCE6C}" dt="2024-04-26T09:24:04.265" v="699"/>
          <ac:spMkLst>
            <pc:docMk/>
            <pc:sldMk cId="809935971" sldId="2147483607"/>
            <ac:spMk id="58" creationId="{D63662FB-BD7A-6394-E306-4B4468DE24E0}"/>
          </ac:spMkLst>
        </pc:spChg>
        <pc:spChg chg="add mod">
          <ac:chgData name="Everts, Susanne (Allianz Kunde und Markt)" userId="e35a5471-d092-49fe-8ba2-1b95fa53cb5e" providerId="ADAL" clId="{8C6D9FDA-9BE7-4D93-9E4C-F16F369CCE6C}" dt="2024-04-26T09:26:49.020" v="732" actId="164"/>
          <ac:spMkLst>
            <pc:docMk/>
            <pc:sldMk cId="809935971" sldId="2147483607"/>
            <ac:spMk id="60" creationId="{E72BEE50-C414-3D62-9E6A-F86494F55BAB}"/>
          </ac:spMkLst>
        </pc:spChg>
        <pc:spChg chg="add mod">
          <ac:chgData name="Everts, Susanne (Allianz Kunde und Markt)" userId="e35a5471-d092-49fe-8ba2-1b95fa53cb5e" providerId="ADAL" clId="{8C6D9FDA-9BE7-4D93-9E4C-F16F369CCE6C}" dt="2024-04-26T09:26:49.020" v="732" actId="164"/>
          <ac:spMkLst>
            <pc:docMk/>
            <pc:sldMk cId="809935971" sldId="2147483607"/>
            <ac:spMk id="61" creationId="{4923A6A2-1472-CFDD-701C-D3872088753A}"/>
          </ac:spMkLst>
        </pc:spChg>
        <pc:spChg chg="mod">
          <ac:chgData name="Everts, Susanne (Allianz Kunde und Markt)" userId="e35a5471-d092-49fe-8ba2-1b95fa53cb5e" providerId="ADAL" clId="{8C6D9FDA-9BE7-4D93-9E4C-F16F369CCE6C}" dt="2024-04-26T09:26:50.825" v="733"/>
          <ac:spMkLst>
            <pc:docMk/>
            <pc:sldMk cId="809935971" sldId="2147483607"/>
            <ac:spMk id="65" creationId="{61E217AE-2D3B-D889-7356-C08570CEC730}"/>
          </ac:spMkLst>
        </pc:spChg>
        <pc:spChg chg="mod">
          <ac:chgData name="Everts, Susanne (Allianz Kunde und Markt)" userId="e35a5471-d092-49fe-8ba2-1b95fa53cb5e" providerId="ADAL" clId="{8C6D9FDA-9BE7-4D93-9E4C-F16F369CCE6C}" dt="2024-04-26T09:26:50.825" v="733"/>
          <ac:spMkLst>
            <pc:docMk/>
            <pc:sldMk cId="809935971" sldId="2147483607"/>
            <ac:spMk id="66" creationId="{8D1D41E8-4AE4-1A8B-EDC0-CA7F7406604E}"/>
          </ac:spMkLst>
        </pc:spChg>
        <pc:spChg chg="mod">
          <ac:chgData name="Everts, Susanne (Allianz Kunde und Markt)" userId="e35a5471-d092-49fe-8ba2-1b95fa53cb5e" providerId="ADAL" clId="{8C6D9FDA-9BE7-4D93-9E4C-F16F369CCE6C}" dt="2024-04-26T09:26:50.825" v="733"/>
          <ac:spMkLst>
            <pc:docMk/>
            <pc:sldMk cId="809935971" sldId="2147483607"/>
            <ac:spMk id="67" creationId="{DB3C69CF-1AF1-DAFD-2EB9-7E1766360544}"/>
          </ac:spMkLst>
        </pc:spChg>
        <pc:spChg chg="mod">
          <ac:chgData name="Everts, Susanne (Allianz Kunde und Markt)" userId="e35a5471-d092-49fe-8ba2-1b95fa53cb5e" providerId="ADAL" clId="{8C6D9FDA-9BE7-4D93-9E4C-F16F369CCE6C}" dt="2024-04-26T09:26:50.825" v="733"/>
          <ac:spMkLst>
            <pc:docMk/>
            <pc:sldMk cId="809935971" sldId="2147483607"/>
            <ac:spMk id="68" creationId="{49168197-93F1-C378-FF45-76F9A934C873}"/>
          </ac:spMkLst>
        </pc:spChg>
        <pc:spChg chg="mod">
          <ac:chgData name="Everts, Susanne (Allianz Kunde und Markt)" userId="e35a5471-d092-49fe-8ba2-1b95fa53cb5e" providerId="ADAL" clId="{8C6D9FDA-9BE7-4D93-9E4C-F16F369CCE6C}" dt="2024-04-26T09:26:50.825" v="733"/>
          <ac:spMkLst>
            <pc:docMk/>
            <pc:sldMk cId="809935971" sldId="2147483607"/>
            <ac:spMk id="69" creationId="{2F046810-2E95-6064-EB54-74FB27D815DA}"/>
          </ac:spMkLst>
        </pc:spChg>
        <pc:spChg chg="mod">
          <ac:chgData name="Everts, Susanne (Allianz Kunde und Markt)" userId="e35a5471-d092-49fe-8ba2-1b95fa53cb5e" providerId="ADAL" clId="{8C6D9FDA-9BE7-4D93-9E4C-F16F369CCE6C}" dt="2024-04-26T09:26:50.825" v="733"/>
          <ac:spMkLst>
            <pc:docMk/>
            <pc:sldMk cId="809935971" sldId="2147483607"/>
            <ac:spMk id="70" creationId="{14749E17-56EB-E4E3-F784-D0CF584E3E2E}"/>
          </ac:spMkLst>
        </pc:spChg>
        <pc:spChg chg="mod">
          <ac:chgData name="Everts, Susanne (Allianz Kunde und Markt)" userId="e35a5471-d092-49fe-8ba2-1b95fa53cb5e" providerId="ADAL" clId="{8C6D9FDA-9BE7-4D93-9E4C-F16F369CCE6C}" dt="2024-04-26T09:26:50.825" v="733"/>
          <ac:spMkLst>
            <pc:docMk/>
            <pc:sldMk cId="809935971" sldId="2147483607"/>
            <ac:spMk id="71" creationId="{81A16538-FC89-4C03-139A-50A1F5AA1C1C}"/>
          </ac:spMkLst>
        </pc:spChg>
        <pc:spChg chg="mod">
          <ac:chgData name="Everts, Susanne (Allianz Kunde und Markt)" userId="e35a5471-d092-49fe-8ba2-1b95fa53cb5e" providerId="ADAL" clId="{8C6D9FDA-9BE7-4D93-9E4C-F16F369CCE6C}" dt="2024-04-26T09:26:50.825" v="733"/>
          <ac:spMkLst>
            <pc:docMk/>
            <pc:sldMk cId="809935971" sldId="2147483607"/>
            <ac:spMk id="72" creationId="{BF3D8C54-C09F-2018-958C-CF1725B73877}"/>
          </ac:spMkLst>
        </pc:spChg>
        <pc:spChg chg="mod">
          <ac:chgData name="Everts, Susanne (Allianz Kunde und Markt)" userId="e35a5471-d092-49fe-8ba2-1b95fa53cb5e" providerId="ADAL" clId="{8C6D9FDA-9BE7-4D93-9E4C-F16F369CCE6C}" dt="2024-04-26T09:26:50.825" v="733"/>
          <ac:spMkLst>
            <pc:docMk/>
            <pc:sldMk cId="809935971" sldId="2147483607"/>
            <ac:spMk id="73" creationId="{D2C54A6E-39BB-395F-9FE3-E34A9547DE73}"/>
          </ac:spMkLst>
        </pc:spChg>
        <pc:spChg chg="mod">
          <ac:chgData name="Everts, Susanne (Allianz Kunde und Markt)" userId="e35a5471-d092-49fe-8ba2-1b95fa53cb5e" providerId="ADAL" clId="{8C6D9FDA-9BE7-4D93-9E4C-F16F369CCE6C}" dt="2024-04-26T09:26:50.825" v="733"/>
          <ac:spMkLst>
            <pc:docMk/>
            <pc:sldMk cId="809935971" sldId="2147483607"/>
            <ac:spMk id="74" creationId="{A5283D4F-2894-E011-B654-BDE1524267B6}"/>
          </ac:spMkLst>
        </pc:spChg>
        <pc:spChg chg="add mod">
          <ac:chgData name="Everts, Susanne (Allianz Kunde und Markt)" userId="e35a5471-d092-49fe-8ba2-1b95fa53cb5e" providerId="ADAL" clId="{8C6D9FDA-9BE7-4D93-9E4C-F16F369CCE6C}" dt="2024-04-30T11:39:58.082" v="2216" actId="1035"/>
          <ac:spMkLst>
            <pc:docMk/>
            <pc:sldMk cId="809935971" sldId="2147483607"/>
            <ac:spMk id="76" creationId="{599A8039-BDAB-9E27-A568-A40FF3AE3A40}"/>
          </ac:spMkLst>
        </pc:spChg>
        <pc:spChg chg="add mod">
          <ac:chgData name="Everts, Susanne (Allianz Kunde und Markt)" userId="e35a5471-d092-49fe-8ba2-1b95fa53cb5e" providerId="ADAL" clId="{8C6D9FDA-9BE7-4D93-9E4C-F16F369CCE6C}" dt="2024-04-30T11:39:58.082" v="2216" actId="1035"/>
          <ac:spMkLst>
            <pc:docMk/>
            <pc:sldMk cId="809935971" sldId="2147483607"/>
            <ac:spMk id="77" creationId="{35B64414-6D25-BD9D-3F50-FC46C3E1D0AB}"/>
          </ac:spMkLst>
        </pc:spChg>
        <pc:spChg chg="add mod">
          <ac:chgData name="Everts, Susanne (Allianz Kunde und Markt)" userId="e35a5471-d092-49fe-8ba2-1b95fa53cb5e" providerId="ADAL" clId="{8C6D9FDA-9BE7-4D93-9E4C-F16F369CCE6C}" dt="2024-04-30T11:39:58.082" v="2216" actId="1035"/>
          <ac:spMkLst>
            <pc:docMk/>
            <pc:sldMk cId="809935971" sldId="2147483607"/>
            <ac:spMk id="78" creationId="{58335632-ABB8-3897-AFDE-7CBBE39B2996}"/>
          </ac:spMkLst>
        </pc:spChg>
        <pc:spChg chg="add mod">
          <ac:chgData name="Everts, Susanne (Allianz Kunde und Markt)" userId="e35a5471-d092-49fe-8ba2-1b95fa53cb5e" providerId="ADAL" clId="{8C6D9FDA-9BE7-4D93-9E4C-F16F369CCE6C}" dt="2024-04-30T11:39:58.082" v="2216" actId="1035"/>
          <ac:spMkLst>
            <pc:docMk/>
            <pc:sldMk cId="809935971" sldId="2147483607"/>
            <ac:spMk id="79" creationId="{AC8D1D7E-0C13-0F22-A7FD-AA30B0D4345F}"/>
          </ac:spMkLst>
        </pc:spChg>
        <pc:spChg chg="add mod">
          <ac:chgData name="Everts, Susanne (Allianz Kunde und Markt)" userId="e35a5471-d092-49fe-8ba2-1b95fa53cb5e" providerId="ADAL" clId="{8C6D9FDA-9BE7-4D93-9E4C-F16F369CCE6C}" dt="2024-04-26T09:29:24.153" v="816"/>
          <ac:spMkLst>
            <pc:docMk/>
            <pc:sldMk cId="809935971" sldId="2147483607"/>
            <ac:spMk id="80" creationId="{B4CE560A-1F59-2860-A50C-A11DEA4534CF}"/>
          </ac:spMkLst>
        </pc:spChg>
        <pc:grpChg chg="del">
          <ac:chgData name="Everts, Susanne (Allianz Kunde und Markt)" userId="e35a5471-d092-49fe-8ba2-1b95fa53cb5e" providerId="ADAL" clId="{8C6D9FDA-9BE7-4D93-9E4C-F16F369CCE6C}" dt="2024-04-26T09:09:32.913" v="472" actId="478"/>
          <ac:grpSpMkLst>
            <pc:docMk/>
            <pc:sldMk cId="809935971" sldId="2147483607"/>
            <ac:grpSpMk id="3" creationId="{458AB606-5FD1-9CD6-1A99-AA438D6FC143}"/>
          </ac:grpSpMkLst>
        </pc:grpChg>
        <pc:grpChg chg="add del mod">
          <ac:chgData name="Everts, Susanne (Allianz Kunde und Markt)" userId="e35a5471-d092-49fe-8ba2-1b95fa53cb5e" providerId="ADAL" clId="{8C6D9FDA-9BE7-4D93-9E4C-F16F369CCE6C}" dt="2024-04-26T09:26:32.303" v="731" actId="165"/>
          <ac:grpSpMkLst>
            <pc:docMk/>
            <pc:sldMk cId="809935971" sldId="2147483607"/>
            <ac:grpSpMk id="48" creationId="{29B6B8AA-328E-DF46-9FE2-E7C7EECD807A}"/>
          </ac:grpSpMkLst>
        </pc:grpChg>
        <pc:grpChg chg="add del mod">
          <ac:chgData name="Everts, Susanne (Allianz Kunde und Markt)" userId="e35a5471-d092-49fe-8ba2-1b95fa53cb5e" providerId="ADAL" clId="{8C6D9FDA-9BE7-4D93-9E4C-F16F369CCE6C}" dt="2024-04-26T09:24:06.271" v="700"/>
          <ac:grpSpMkLst>
            <pc:docMk/>
            <pc:sldMk cId="809935971" sldId="2147483607"/>
            <ac:grpSpMk id="49" creationId="{FE506DFE-7133-892F-24A6-6330EA7826D7}"/>
          </ac:grpSpMkLst>
        </pc:grpChg>
        <pc:grpChg chg="add del mod">
          <ac:chgData name="Everts, Susanne (Allianz Kunde und Markt)" userId="e35a5471-d092-49fe-8ba2-1b95fa53cb5e" providerId="ADAL" clId="{8C6D9FDA-9BE7-4D93-9E4C-F16F369CCE6C}" dt="2024-04-26T09:27:00.481" v="739" actId="478"/>
          <ac:grpSpMkLst>
            <pc:docMk/>
            <pc:sldMk cId="809935971" sldId="2147483607"/>
            <ac:grpSpMk id="62" creationId="{57280542-6BD0-0549-8667-AFD25BDD4E3C}"/>
          </ac:grpSpMkLst>
        </pc:grpChg>
        <pc:grpChg chg="add del mod">
          <ac:chgData name="Everts, Susanne (Allianz Kunde und Markt)" userId="e35a5471-d092-49fe-8ba2-1b95fa53cb5e" providerId="ADAL" clId="{8C6D9FDA-9BE7-4D93-9E4C-F16F369CCE6C}" dt="2024-04-26T09:26:52.730" v="734"/>
          <ac:grpSpMkLst>
            <pc:docMk/>
            <pc:sldMk cId="809935971" sldId="2147483607"/>
            <ac:grpSpMk id="63" creationId="{1C89573B-8792-AA3C-F32F-47EC58A48813}"/>
          </ac:grpSpMkLst>
        </pc:grpChg>
        <pc:picChg chg="mod">
          <ac:chgData name="Everts, Susanne (Allianz Kunde und Markt)" userId="e35a5471-d092-49fe-8ba2-1b95fa53cb5e" providerId="ADAL" clId="{8C6D9FDA-9BE7-4D93-9E4C-F16F369CCE6C}" dt="2024-05-07T08:21:58.844" v="2724" actId="554"/>
          <ac:picMkLst>
            <pc:docMk/>
            <pc:sldMk cId="809935971" sldId="2147483607"/>
            <ac:picMk id="2" creationId="{C1098AD2-CF70-D03D-33B1-0BA1516B6F1F}"/>
          </ac:picMkLst>
        </pc:picChg>
        <pc:picChg chg="del">
          <ac:chgData name="Everts, Susanne (Allianz Kunde und Markt)" userId="e35a5471-d092-49fe-8ba2-1b95fa53cb5e" providerId="ADAL" clId="{8C6D9FDA-9BE7-4D93-9E4C-F16F369CCE6C}" dt="2024-04-26T09:09:32.913" v="472" actId="478"/>
          <ac:picMkLst>
            <pc:docMk/>
            <pc:sldMk cId="809935971" sldId="2147483607"/>
            <ac:picMk id="2" creationId="{C30C0386-A4B1-23D4-9583-E9FFD7CDA910}"/>
          </ac:picMkLst>
        </pc:picChg>
        <pc:picChg chg="add del mod">
          <ac:chgData name="Everts, Susanne (Allianz Kunde und Markt)" userId="e35a5471-d092-49fe-8ba2-1b95fa53cb5e" providerId="ADAL" clId="{8C6D9FDA-9BE7-4D93-9E4C-F16F369CCE6C}" dt="2024-04-26T09:21:18.433" v="621" actId="478"/>
          <ac:picMkLst>
            <pc:docMk/>
            <pc:sldMk cId="809935971" sldId="2147483607"/>
            <ac:picMk id="32" creationId="{ED6F8CB1-0797-95C1-AD7C-989615CB950E}"/>
          </ac:picMkLst>
        </pc:picChg>
        <pc:picChg chg="add mod ord topLvl">
          <ac:chgData name="Everts, Susanne (Allianz Kunde und Markt)" userId="e35a5471-d092-49fe-8ba2-1b95fa53cb5e" providerId="ADAL" clId="{8C6D9FDA-9BE7-4D93-9E4C-F16F369CCE6C}" dt="2024-04-26T09:26:49.020" v="732" actId="164"/>
          <ac:picMkLst>
            <pc:docMk/>
            <pc:sldMk cId="809935971" sldId="2147483607"/>
            <ac:picMk id="43" creationId="{3D11B91A-8D4D-DD49-E661-8A2659354850}"/>
          </ac:picMkLst>
        </pc:picChg>
        <pc:picChg chg="mod">
          <ac:chgData name="Everts, Susanne (Allianz Kunde und Markt)" userId="e35a5471-d092-49fe-8ba2-1b95fa53cb5e" providerId="ADAL" clId="{8C6D9FDA-9BE7-4D93-9E4C-F16F369CCE6C}" dt="2024-04-26T09:24:04.265" v="699"/>
          <ac:picMkLst>
            <pc:docMk/>
            <pc:sldMk cId="809935971" sldId="2147483607"/>
            <ac:picMk id="50" creationId="{5BE8FEA0-88B3-5800-47FF-114782C58B9E}"/>
          </ac:picMkLst>
        </pc:picChg>
        <pc:picChg chg="add del mod">
          <ac:chgData name="Everts, Susanne (Allianz Kunde und Markt)" userId="e35a5471-d092-49fe-8ba2-1b95fa53cb5e" providerId="ADAL" clId="{8C6D9FDA-9BE7-4D93-9E4C-F16F369CCE6C}" dt="2024-04-26T09:24:15.315" v="703" actId="478"/>
          <ac:picMkLst>
            <pc:docMk/>
            <pc:sldMk cId="809935971" sldId="2147483607"/>
            <ac:picMk id="59" creationId="{43CE2248-3091-BE3F-897E-734E2C190CD6}"/>
          </ac:picMkLst>
        </pc:picChg>
        <pc:picChg chg="mod">
          <ac:chgData name="Everts, Susanne (Allianz Kunde und Markt)" userId="e35a5471-d092-49fe-8ba2-1b95fa53cb5e" providerId="ADAL" clId="{8C6D9FDA-9BE7-4D93-9E4C-F16F369CCE6C}" dt="2024-04-26T09:26:50.825" v="733"/>
          <ac:picMkLst>
            <pc:docMk/>
            <pc:sldMk cId="809935971" sldId="2147483607"/>
            <ac:picMk id="64" creationId="{CC44AAB5-D857-B3B5-9E51-680220E21D3F}"/>
          </ac:picMkLst>
        </pc:picChg>
        <pc:picChg chg="add mod">
          <ac:chgData name="Everts, Susanne (Allianz Kunde und Markt)" userId="e35a5471-d092-49fe-8ba2-1b95fa53cb5e" providerId="ADAL" clId="{8C6D9FDA-9BE7-4D93-9E4C-F16F369CCE6C}" dt="2024-04-30T11:39:07.521" v="2134" actId="14100"/>
          <ac:picMkLst>
            <pc:docMk/>
            <pc:sldMk cId="809935971" sldId="2147483607"/>
            <ac:picMk id="75" creationId="{6B5B6019-FFE2-5EC6-2892-C396D78496F2}"/>
          </ac:picMkLst>
        </pc:picChg>
      </pc:sldChg>
      <pc:sldChg chg="addSp delSp modSp mod ord">
        <pc:chgData name="Everts, Susanne (Allianz Kunde und Markt)" userId="e35a5471-d092-49fe-8ba2-1b95fa53cb5e" providerId="ADAL" clId="{8C6D9FDA-9BE7-4D93-9E4C-F16F369CCE6C}" dt="2024-05-07T08:26:47.313" v="3015" actId="1036"/>
        <pc:sldMkLst>
          <pc:docMk/>
          <pc:sldMk cId="2423223372" sldId="2147483608"/>
        </pc:sldMkLst>
        <pc:spChg chg="del">
          <ac:chgData name="Everts, Susanne (Allianz Kunde und Markt)" userId="e35a5471-d092-49fe-8ba2-1b95fa53cb5e" providerId="ADAL" clId="{8C6D9FDA-9BE7-4D93-9E4C-F16F369CCE6C}" dt="2024-04-26T09:11:10.141" v="481" actId="478"/>
          <ac:spMkLst>
            <pc:docMk/>
            <pc:sldMk cId="2423223372" sldId="2147483608"/>
            <ac:spMk id="2" creationId="{FAC1CD8A-CEF7-11DB-2A48-AAB8CD999668}"/>
          </ac:spMkLst>
        </pc:spChg>
        <pc:spChg chg="del">
          <ac:chgData name="Everts, Susanne (Allianz Kunde und Markt)" userId="e35a5471-d092-49fe-8ba2-1b95fa53cb5e" providerId="ADAL" clId="{8C6D9FDA-9BE7-4D93-9E4C-F16F369CCE6C}" dt="2024-04-26T09:11:10.141" v="481" actId="478"/>
          <ac:spMkLst>
            <pc:docMk/>
            <pc:sldMk cId="2423223372" sldId="2147483608"/>
            <ac:spMk id="3" creationId="{AF14B232-4632-7B57-94FD-A36609FCDBB6}"/>
          </ac:spMkLst>
        </pc:spChg>
        <pc:spChg chg="del">
          <ac:chgData name="Everts, Susanne (Allianz Kunde und Markt)" userId="e35a5471-d092-49fe-8ba2-1b95fa53cb5e" providerId="ADAL" clId="{8C6D9FDA-9BE7-4D93-9E4C-F16F369CCE6C}" dt="2024-04-26T09:11:10.141" v="481" actId="478"/>
          <ac:spMkLst>
            <pc:docMk/>
            <pc:sldMk cId="2423223372" sldId="2147483608"/>
            <ac:spMk id="4" creationId="{F2B07F3A-D58B-2119-DA45-9FC6E40C9AEF}"/>
          </ac:spMkLst>
        </pc:spChg>
        <pc:spChg chg="del">
          <ac:chgData name="Everts, Susanne (Allianz Kunde und Markt)" userId="e35a5471-d092-49fe-8ba2-1b95fa53cb5e" providerId="ADAL" clId="{8C6D9FDA-9BE7-4D93-9E4C-F16F369CCE6C}" dt="2024-04-26T09:29:28.827" v="817" actId="478"/>
          <ac:spMkLst>
            <pc:docMk/>
            <pc:sldMk cId="2423223372" sldId="2147483608"/>
            <ac:spMk id="7" creationId="{A59A4C8D-3A15-F3F9-DA72-0843478EEBCC}"/>
          </ac:spMkLst>
        </pc:spChg>
        <pc:spChg chg="add mod">
          <ac:chgData name="Everts, Susanne (Allianz Kunde und Markt)" userId="e35a5471-d092-49fe-8ba2-1b95fa53cb5e" providerId="ADAL" clId="{8C6D9FDA-9BE7-4D93-9E4C-F16F369CCE6C}" dt="2024-05-07T08:26:06.084" v="2876" actId="14100"/>
          <ac:spMkLst>
            <pc:docMk/>
            <pc:sldMk cId="2423223372" sldId="2147483608"/>
            <ac:spMk id="8" creationId="{1953263E-1962-03EE-2444-8946EAF28808}"/>
          </ac:spMkLst>
        </pc:spChg>
        <pc:spChg chg="del">
          <ac:chgData name="Everts, Susanne (Allianz Kunde und Markt)" userId="e35a5471-d092-49fe-8ba2-1b95fa53cb5e" providerId="ADAL" clId="{8C6D9FDA-9BE7-4D93-9E4C-F16F369CCE6C}" dt="2024-04-26T09:11:10.141" v="481" actId="478"/>
          <ac:spMkLst>
            <pc:docMk/>
            <pc:sldMk cId="2423223372" sldId="2147483608"/>
            <ac:spMk id="10" creationId="{5D9BA31A-112D-494E-B586-25502FA14894}"/>
          </ac:spMkLst>
        </pc:spChg>
        <pc:spChg chg="del">
          <ac:chgData name="Everts, Susanne (Allianz Kunde und Markt)" userId="e35a5471-d092-49fe-8ba2-1b95fa53cb5e" providerId="ADAL" clId="{8C6D9FDA-9BE7-4D93-9E4C-F16F369CCE6C}" dt="2024-04-26T09:11:10.141" v="481" actId="478"/>
          <ac:spMkLst>
            <pc:docMk/>
            <pc:sldMk cId="2423223372" sldId="2147483608"/>
            <ac:spMk id="19" creationId="{DCE1E30A-9DDC-9178-D87E-1D4C8FA90DF2}"/>
          </ac:spMkLst>
        </pc:spChg>
        <pc:spChg chg="del">
          <ac:chgData name="Everts, Susanne (Allianz Kunde und Markt)" userId="e35a5471-d092-49fe-8ba2-1b95fa53cb5e" providerId="ADAL" clId="{8C6D9FDA-9BE7-4D93-9E4C-F16F369CCE6C}" dt="2024-04-26T09:11:10.141" v="481" actId="478"/>
          <ac:spMkLst>
            <pc:docMk/>
            <pc:sldMk cId="2423223372" sldId="2147483608"/>
            <ac:spMk id="24" creationId="{2B21C98C-A1CA-0610-8768-C17B2C0A70A8}"/>
          </ac:spMkLst>
        </pc:spChg>
        <pc:spChg chg="mod">
          <ac:chgData name="Everts, Susanne (Allianz Kunde und Markt)" userId="e35a5471-d092-49fe-8ba2-1b95fa53cb5e" providerId="ADAL" clId="{8C6D9FDA-9BE7-4D93-9E4C-F16F369CCE6C}" dt="2024-05-07T08:24:57.107" v="2823" actId="14100"/>
          <ac:spMkLst>
            <pc:docMk/>
            <pc:sldMk cId="2423223372" sldId="2147483608"/>
            <ac:spMk id="25" creationId="{A6093A5F-8322-E41D-8ABE-32CA0FEC5A7A}"/>
          </ac:spMkLst>
        </pc:spChg>
        <pc:spChg chg="del">
          <ac:chgData name="Everts, Susanne (Allianz Kunde und Markt)" userId="e35a5471-d092-49fe-8ba2-1b95fa53cb5e" providerId="ADAL" clId="{8C6D9FDA-9BE7-4D93-9E4C-F16F369CCE6C}" dt="2024-04-26T09:27:22.190" v="747" actId="478"/>
          <ac:spMkLst>
            <pc:docMk/>
            <pc:sldMk cId="2423223372" sldId="2147483608"/>
            <ac:spMk id="26" creationId="{24FC68B8-6EF1-3DA8-0F4E-CB429610FBB3}"/>
          </ac:spMkLst>
        </pc:spChg>
        <pc:spChg chg="mod">
          <ac:chgData name="Everts, Susanne (Allianz Kunde und Markt)" userId="e35a5471-d092-49fe-8ba2-1b95fa53cb5e" providerId="ADAL" clId="{8C6D9FDA-9BE7-4D93-9E4C-F16F369CCE6C}" dt="2024-05-07T08:25:58.261" v="2874" actId="14100"/>
          <ac:spMkLst>
            <pc:docMk/>
            <pc:sldMk cId="2423223372" sldId="2147483608"/>
            <ac:spMk id="27" creationId="{DC91DD12-7973-E8F5-6A9A-581EDDBD3A65}"/>
          </ac:spMkLst>
        </pc:spChg>
        <pc:spChg chg="mod">
          <ac:chgData name="Everts, Susanne (Allianz Kunde und Markt)" userId="e35a5471-d092-49fe-8ba2-1b95fa53cb5e" providerId="ADAL" clId="{8C6D9FDA-9BE7-4D93-9E4C-F16F369CCE6C}" dt="2024-05-07T08:25:45.130" v="2866" actId="21"/>
          <ac:spMkLst>
            <pc:docMk/>
            <pc:sldMk cId="2423223372" sldId="2147483608"/>
            <ac:spMk id="28" creationId="{4E9B8296-DAE5-F1E1-57BC-82EB742EF517}"/>
          </ac:spMkLst>
        </pc:spChg>
        <pc:spChg chg="mod">
          <ac:chgData name="Everts, Susanne (Allianz Kunde und Markt)" userId="e35a5471-d092-49fe-8ba2-1b95fa53cb5e" providerId="ADAL" clId="{8C6D9FDA-9BE7-4D93-9E4C-F16F369CCE6C}" dt="2024-04-26T09:27:45.270" v="779" actId="20577"/>
          <ac:spMkLst>
            <pc:docMk/>
            <pc:sldMk cId="2423223372" sldId="2147483608"/>
            <ac:spMk id="31" creationId="{00000000-0000-0000-0000-000000000000}"/>
          </ac:spMkLst>
        </pc:spChg>
        <pc:spChg chg="mod">
          <ac:chgData name="Everts, Susanne (Allianz Kunde und Markt)" userId="e35a5471-d092-49fe-8ba2-1b95fa53cb5e" providerId="ADAL" clId="{8C6D9FDA-9BE7-4D93-9E4C-F16F369CCE6C}" dt="2024-04-30T12:04:00.308" v="2376" actId="20577"/>
          <ac:spMkLst>
            <pc:docMk/>
            <pc:sldMk cId="2423223372" sldId="2147483608"/>
            <ac:spMk id="36" creationId="{196DF232-D1B7-44C1-94F0-3B425952DF1B}"/>
          </ac:spMkLst>
        </pc:spChg>
        <pc:spChg chg="mod">
          <ac:chgData name="Everts, Susanne (Allianz Kunde und Markt)" userId="e35a5471-d092-49fe-8ba2-1b95fa53cb5e" providerId="ADAL" clId="{8C6D9FDA-9BE7-4D93-9E4C-F16F369CCE6C}" dt="2024-04-30T11:23:45.094" v="1193"/>
          <ac:spMkLst>
            <pc:docMk/>
            <pc:sldMk cId="2423223372" sldId="2147483608"/>
            <ac:spMk id="37" creationId="{1E85E34B-22E1-42B6-94A7-0885707F4F6B}"/>
          </ac:spMkLst>
        </pc:spChg>
        <pc:picChg chg="add mod">
          <ac:chgData name="Everts, Susanne (Allianz Kunde und Markt)" userId="e35a5471-d092-49fe-8ba2-1b95fa53cb5e" providerId="ADAL" clId="{8C6D9FDA-9BE7-4D93-9E4C-F16F369CCE6C}" dt="2024-05-07T08:26:21.943" v="2883" actId="553"/>
          <ac:picMkLst>
            <pc:docMk/>
            <pc:sldMk cId="2423223372" sldId="2147483608"/>
            <ac:picMk id="2" creationId="{A1D5D24A-CF02-4A44-40C2-69656817BA97}"/>
          </ac:picMkLst>
        </pc:picChg>
        <pc:picChg chg="add mod">
          <ac:chgData name="Everts, Susanne (Allianz Kunde und Markt)" userId="e35a5471-d092-49fe-8ba2-1b95fa53cb5e" providerId="ADAL" clId="{8C6D9FDA-9BE7-4D93-9E4C-F16F369CCE6C}" dt="2024-05-07T08:26:26.463" v="2890" actId="1035"/>
          <ac:picMkLst>
            <pc:docMk/>
            <pc:sldMk cId="2423223372" sldId="2147483608"/>
            <ac:picMk id="3" creationId="{10AA05B5-4971-7F6C-B5AF-A627EBAA5D05}"/>
          </ac:picMkLst>
        </pc:picChg>
        <pc:picChg chg="add mod">
          <ac:chgData name="Everts, Susanne (Allianz Kunde und Markt)" userId="e35a5471-d092-49fe-8ba2-1b95fa53cb5e" providerId="ADAL" clId="{8C6D9FDA-9BE7-4D93-9E4C-F16F369CCE6C}" dt="2024-05-07T08:26:31.299" v="2913" actId="1035"/>
          <ac:picMkLst>
            <pc:docMk/>
            <pc:sldMk cId="2423223372" sldId="2147483608"/>
            <ac:picMk id="4" creationId="{0754211F-FBFD-04FB-515E-3B00E25D1029}"/>
          </ac:picMkLst>
        </pc:picChg>
        <pc:picChg chg="add mod">
          <ac:chgData name="Everts, Susanne (Allianz Kunde und Markt)" userId="e35a5471-d092-49fe-8ba2-1b95fa53cb5e" providerId="ADAL" clId="{8C6D9FDA-9BE7-4D93-9E4C-F16F369CCE6C}" dt="2024-05-07T08:24:41.858" v="2800" actId="14100"/>
          <ac:picMkLst>
            <pc:docMk/>
            <pc:sldMk cId="2423223372" sldId="2147483608"/>
            <ac:picMk id="6" creationId="{C5645811-BE6A-C569-9391-76A48030E86E}"/>
          </ac:picMkLst>
        </pc:picChg>
        <pc:picChg chg="add mod">
          <ac:chgData name="Everts, Susanne (Allianz Kunde und Markt)" userId="e35a5471-d092-49fe-8ba2-1b95fa53cb5e" providerId="ADAL" clId="{8C6D9FDA-9BE7-4D93-9E4C-F16F369CCE6C}" dt="2024-05-07T08:26:33.572" v="2918" actId="1035"/>
          <ac:picMkLst>
            <pc:docMk/>
            <pc:sldMk cId="2423223372" sldId="2147483608"/>
            <ac:picMk id="7" creationId="{DA9A8AA0-7C4C-EA06-D781-A6028C979B73}"/>
          </ac:picMkLst>
        </pc:picChg>
        <pc:picChg chg="add mod">
          <ac:chgData name="Everts, Susanne (Allianz Kunde und Markt)" userId="e35a5471-d092-49fe-8ba2-1b95fa53cb5e" providerId="ADAL" clId="{8C6D9FDA-9BE7-4D93-9E4C-F16F369CCE6C}" dt="2024-05-07T08:26:37.297" v="2943" actId="1035"/>
          <ac:picMkLst>
            <pc:docMk/>
            <pc:sldMk cId="2423223372" sldId="2147483608"/>
            <ac:picMk id="10" creationId="{BBD95056-CC92-6787-7238-4BF70B3A7BCA}"/>
          </ac:picMkLst>
        </pc:picChg>
        <pc:picChg chg="add mod">
          <ac:chgData name="Everts, Susanne (Allianz Kunde und Markt)" userId="e35a5471-d092-49fe-8ba2-1b95fa53cb5e" providerId="ADAL" clId="{8C6D9FDA-9BE7-4D93-9E4C-F16F369CCE6C}" dt="2024-05-07T08:26:42.372" v="2975" actId="1035"/>
          <ac:picMkLst>
            <pc:docMk/>
            <pc:sldMk cId="2423223372" sldId="2147483608"/>
            <ac:picMk id="11" creationId="{708B527D-4EF6-1152-63CB-B3211928C1E3}"/>
          </ac:picMkLst>
        </pc:picChg>
        <pc:picChg chg="add mod">
          <ac:chgData name="Everts, Susanne (Allianz Kunde und Markt)" userId="e35a5471-d092-49fe-8ba2-1b95fa53cb5e" providerId="ADAL" clId="{8C6D9FDA-9BE7-4D93-9E4C-F16F369CCE6C}" dt="2024-05-07T08:26:47.313" v="3015" actId="1036"/>
          <ac:picMkLst>
            <pc:docMk/>
            <pc:sldMk cId="2423223372" sldId="2147483608"/>
            <ac:picMk id="12" creationId="{997FF453-D1D8-2F40-F421-1F34B2603A13}"/>
          </ac:picMkLst>
        </pc:picChg>
        <pc:picChg chg="add del mod">
          <ac:chgData name="Everts, Susanne (Allianz Kunde und Markt)" userId="e35a5471-d092-49fe-8ba2-1b95fa53cb5e" providerId="ADAL" clId="{8C6D9FDA-9BE7-4D93-9E4C-F16F369CCE6C}" dt="2024-05-07T08:23:38.243" v="2747" actId="478"/>
          <ac:picMkLst>
            <pc:docMk/>
            <pc:sldMk cId="2423223372" sldId="2147483608"/>
            <ac:picMk id="13" creationId="{BF88FA43-235F-E232-118C-6980148775A1}"/>
          </ac:picMkLst>
        </pc:picChg>
        <pc:picChg chg="add mod">
          <ac:chgData name="Everts, Susanne (Allianz Kunde und Markt)" userId="e35a5471-d092-49fe-8ba2-1b95fa53cb5e" providerId="ADAL" clId="{8C6D9FDA-9BE7-4D93-9E4C-F16F369CCE6C}" dt="2024-05-07T08:24:02.754" v="2750" actId="554"/>
          <ac:picMkLst>
            <pc:docMk/>
            <pc:sldMk cId="2423223372" sldId="2147483608"/>
            <ac:picMk id="14" creationId="{34042B01-EDE8-6225-3D20-1F7EECBEC497}"/>
          </ac:picMkLst>
        </pc:picChg>
        <pc:picChg chg="add mod">
          <ac:chgData name="Everts, Susanne (Allianz Kunde und Markt)" userId="e35a5471-d092-49fe-8ba2-1b95fa53cb5e" providerId="ADAL" clId="{8C6D9FDA-9BE7-4D93-9E4C-F16F369CCE6C}" dt="2024-05-07T08:24:02.754" v="2750" actId="554"/>
          <ac:picMkLst>
            <pc:docMk/>
            <pc:sldMk cId="2423223372" sldId="2147483608"/>
            <ac:picMk id="15" creationId="{3734D400-D18F-3247-5974-4E861ECB0DF9}"/>
          </ac:picMkLst>
        </pc:picChg>
        <pc:picChg chg="add mod">
          <ac:chgData name="Everts, Susanne (Allianz Kunde und Markt)" userId="e35a5471-d092-49fe-8ba2-1b95fa53cb5e" providerId="ADAL" clId="{8C6D9FDA-9BE7-4D93-9E4C-F16F369CCE6C}" dt="2024-05-07T08:24:02.754" v="2750" actId="554"/>
          <ac:picMkLst>
            <pc:docMk/>
            <pc:sldMk cId="2423223372" sldId="2147483608"/>
            <ac:picMk id="16" creationId="{B5C3AAD4-3A02-FBA2-D7AD-12CFFD2AB239}"/>
          </ac:picMkLst>
        </pc:picChg>
        <pc:picChg chg="add mod">
          <ac:chgData name="Everts, Susanne (Allianz Kunde und Markt)" userId="e35a5471-d092-49fe-8ba2-1b95fa53cb5e" providerId="ADAL" clId="{8C6D9FDA-9BE7-4D93-9E4C-F16F369CCE6C}" dt="2024-05-07T08:24:02.754" v="2750" actId="554"/>
          <ac:picMkLst>
            <pc:docMk/>
            <pc:sldMk cId="2423223372" sldId="2147483608"/>
            <ac:picMk id="17" creationId="{560B4D70-AC05-5AFF-1CE7-E7AFDE93B2A0}"/>
          </ac:picMkLst>
        </pc:picChg>
        <pc:picChg chg="add mod">
          <ac:chgData name="Everts, Susanne (Allianz Kunde und Markt)" userId="e35a5471-d092-49fe-8ba2-1b95fa53cb5e" providerId="ADAL" clId="{8C6D9FDA-9BE7-4D93-9E4C-F16F369CCE6C}" dt="2024-05-07T08:23:56.640" v="2749" actId="554"/>
          <ac:picMkLst>
            <pc:docMk/>
            <pc:sldMk cId="2423223372" sldId="2147483608"/>
            <ac:picMk id="18" creationId="{31AF8624-127A-8953-B6A5-55339E640484}"/>
          </ac:picMkLst>
        </pc:picChg>
        <pc:picChg chg="add mod">
          <ac:chgData name="Everts, Susanne (Allianz Kunde und Markt)" userId="e35a5471-d092-49fe-8ba2-1b95fa53cb5e" providerId="ADAL" clId="{8C6D9FDA-9BE7-4D93-9E4C-F16F369CCE6C}" dt="2024-05-07T08:23:56.640" v="2749" actId="554"/>
          <ac:picMkLst>
            <pc:docMk/>
            <pc:sldMk cId="2423223372" sldId="2147483608"/>
            <ac:picMk id="19" creationId="{EDDD50A2-7A63-324F-B712-0E9812749CD1}"/>
          </ac:picMkLst>
        </pc:picChg>
        <pc:picChg chg="add mod">
          <ac:chgData name="Everts, Susanne (Allianz Kunde und Markt)" userId="e35a5471-d092-49fe-8ba2-1b95fa53cb5e" providerId="ADAL" clId="{8C6D9FDA-9BE7-4D93-9E4C-F16F369CCE6C}" dt="2024-05-07T08:23:56.640" v="2749" actId="554"/>
          <ac:picMkLst>
            <pc:docMk/>
            <pc:sldMk cId="2423223372" sldId="2147483608"/>
            <ac:picMk id="20" creationId="{11F3942C-53F4-4C40-D6A1-4178FAE0444C}"/>
          </ac:picMkLst>
        </pc:picChg>
        <pc:picChg chg="add del mod">
          <ac:chgData name="Everts, Susanne (Allianz Kunde und Markt)" userId="e35a5471-d092-49fe-8ba2-1b95fa53cb5e" providerId="ADAL" clId="{8C6D9FDA-9BE7-4D93-9E4C-F16F369CCE6C}" dt="2024-05-07T08:23:36.794" v="2746" actId="478"/>
          <ac:picMkLst>
            <pc:docMk/>
            <pc:sldMk cId="2423223372" sldId="2147483608"/>
            <ac:picMk id="21" creationId="{FB33D1D0-8B14-7D94-4407-933D6D02208D}"/>
          </ac:picMkLst>
        </pc:picChg>
        <pc:picChg chg="del">
          <ac:chgData name="Everts, Susanne (Allianz Kunde und Markt)" userId="e35a5471-d092-49fe-8ba2-1b95fa53cb5e" providerId="ADAL" clId="{8C6D9FDA-9BE7-4D93-9E4C-F16F369CCE6C}" dt="2024-04-26T09:11:10.141" v="481" actId="478"/>
          <ac:picMkLst>
            <pc:docMk/>
            <pc:sldMk cId="2423223372" sldId="2147483608"/>
            <ac:picMk id="30" creationId="{1A33D7D8-11D9-2F21-EE43-75C24801E594}"/>
          </ac:picMkLst>
        </pc:picChg>
        <pc:picChg chg="del">
          <ac:chgData name="Everts, Susanne (Allianz Kunde und Markt)" userId="e35a5471-d092-49fe-8ba2-1b95fa53cb5e" providerId="ADAL" clId="{8C6D9FDA-9BE7-4D93-9E4C-F16F369CCE6C}" dt="2024-04-26T09:11:10.141" v="481" actId="478"/>
          <ac:picMkLst>
            <pc:docMk/>
            <pc:sldMk cId="2423223372" sldId="2147483608"/>
            <ac:picMk id="35" creationId="{CEE40894-76A9-0C77-CCFD-F5852EDF7314}"/>
          </ac:picMkLst>
        </pc:picChg>
        <pc:cxnChg chg="del mod">
          <ac:chgData name="Everts, Susanne (Allianz Kunde und Markt)" userId="e35a5471-d092-49fe-8ba2-1b95fa53cb5e" providerId="ADAL" clId="{8C6D9FDA-9BE7-4D93-9E4C-F16F369CCE6C}" dt="2024-05-07T08:25:13.522" v="2858" actId="478"/>
          <ac:cxnSpMkLst>
            <pc:docMk/>
            <pc:sldMk cId="2423223372" sldId="2147483608"/>
            <ac:cxnSpMk id="5" creationId="{7F37554B-A9FE-223B-ED70-67EEFCED8BAB}"/>
          </ac:cxnSpMkLst>
        </pc:cxnChg>
      </pc:sldChg>
      <pc:sldChg chg="addSp delSp modSp add mod">
        <pc:chgData name="Everts, Susanne (Allianz Kunde und Markt)" userId="e35a5471-d092-49fe-8ba2-1b95fa53cb5e" providerId="ADAL" clId="{8C6D9FDA-9BE7-4D93-9E4C-F16F369CCE6C}" dt="2024-04-30T12:04:09.918" v="2380" actId="20577"/>
        <pc:sldMkLst>
          <pc:docMk/>
          <pc:sldMk cId="3640110630" sldId="2147483609"/>
        </pc:sldMkLst>
        <pc:spChg chg="mod">
          <ac:chgData name="Everts, Susanne (Allianz Kunde und Markt)" userId="e35a5471-d092-49fe-8ba2-1b95fa53cb5e" providerId="ADAL" clId="{8C6D9FDA-9BE7-4D93-9E4C-F16F369CCE6C}" dt="2024-04-26T09:04:06.204" v="426"/>
          <ac:spMkLst>
            <pc:docMk/>
            <pc:sldMk cId="3640110630" sldId="2147483609"/>
            <ac:spMk id="2" creationId="{00000000-0000-0000-0000-000000000000}"/>
          </ac:spMkLst>
        </pc:spChg>
        <pc:spChg chg="mod">
          <ac:chgData name="Everts, Susanne (Allianz Kunde und Markt)" userId="e35a5471-d092-49fe-8ba2-1b95fa53cb5e" providerId="ADAL" clId="{8C6D9FDA-9BE7-4D93-9E4C-F16F369CCE6C}" dt="2024-04-26T09:06:03.788" v="442" actId="14100"/>
          <ac:spMkLst>
            <pc:docMk/>
            <pc:sldMk cId="3640110630" sldId="2147483609"/>
            <ac:spMk id="5" creationId="{00000000-0000-0000-0000-000000000000}"/>
          </ac:spMkLst>
        </pc:spChg>
        <pc:spChg chg="del">
          <ac:chgData name="Everts, Susanne (Allianz Kunde und Markt)" userId="e35a5471-d092-49fe-8ba2-1b95fa53cb5e" providerId="ADAL" clId="{8C6D9FDA-9BE7-4D93-9E4C-F16F369CCE6C}" dt="2024-04-26T09:05:53.669" v="439" actId="478"/>
          <ac:spMkLst>
            <pc:docMk/>
            <pc:sldMk cId="3640110630" sldId="2147483609"/>
            <ac:spMk id="10" creationId="{00000000-0000-0000-0000-000000000000}"/>
          </ac:spMkLst>
        </pc:spChg>
        <pc:spChg chg="mod">
          <ac:chgData name="Everts, Susanne (Allianz Kunde und Markt)" userId="e35a5471-d092-49fe-8ba2-1b95fa53cb5e" providerId="ADAL" clId="{8C6D9FDA-9BE7-4D93-9E4C-F16F369CCE6C}" dt="2024-04-26T09:08:52.087" v="467" actId="2711"/>
          <ac:spMkLst>
            <pc:docMk/>
            <pc:sldMk cId="3640110630" sldId="2147483609"/>
            <ac:spMk id="15" creationId="{00000000-0000-0000-0000-000000000000}"/>
          </ac:spMkLst>
        </pc:spChg>
        <pc:spChg chg="mod">
          <ac:chgData name="Everts, Susanne (Allianz Kunde und Markt)" userId="e35a5471-d092-49fe-8ba2-1b95fa53cb5e" providerId="ADAL" clId="{8C6D9FDA-9BE7-4D93-9E4C-F16F369CCE6C}" dt="2024-04-30T11:23:25.405" v="1187"/>
          <ac:spMkLst>
            <pc:docMk/>
            <pc:sldMk cId="3640110630" sldId="2147483609"/>
            <ac:spMk id="24" creationId="{1E85E34B-22E1-42B6-94A7-0885707F4F6B}"/>
          </ac:spMkLst>
        </pc:spChg>
        <pc:spChg chg="mod">
          <ac:chgData name="Everts, Susanne (Allianz Kunde und Markt)" userId="e35a5471-d092-49fe-8ba2-1b95fa53cb5e" providerId="ADAL" clId="{8C6D9FDA-9BE7-4D93-9E4C-F16F369CCE6C}" dt="2024-04-30T12:04:09.918" v="2380" actId="20577"/>
          <ac:spMkLst>
            <pc:docMk/>
            <pc:sldMk cId="3640110630" sldId="2147483609"/>
            <ac:spMk id="28" creationId="{196DF232-D1B7-44C1-94F0-3B425952DF1B}"/>
          </ac:spMkLst>
        </pc:spChg>
        <pc:graphicFrameChg chg="del">
          <ac:chgData name="Everts, Susanne (Allianz Kunde und Markt)" userId="e35a5471-d092-49fe-8ba2-1b95fa53cb5e" providerId="ADAL" clId="{8C6D9FDA-9BE7-4D93-9E4C-F16F369CCE6C}" dt="2024-04-26T09:05:51.550" v="438" actId="478"/>
          <ac:graphicFrameMkLst>
            <pc:docMk/>
            <pc:sldMk cId="3640110630" sldId="2147483609"/>
            <ac:graphicFrameMk id="3" creationId="{00000000-0000-0000-0000-000000000000}"/>
          </ac:graphicFrameMkLst>
        </pc:graphicFrameChg>
        <pc:graphicFrameChg chg="add del">
          <ac:chgData name="Everts, Susanne (Allianz Kunde und Markt)" userId="e35a5471-d092-49fe-8ba2-1b95fa53cb5e" providerId="ADAL" clId="{8C6D9FDA-9BE7-4D93-9E4C-F16F369CCE6C}" dt="2024-04-26T09:05:23.146" v="430"/>
          <ac:graphicFrameMkLst>
            <pc:docMk/>
            <pc:sldMk cId="3640110630" sldId="2147483609"/>
            <ac:graphicFrameMk id="4" creationId="{C18DD7AC-EB62-C525-082F-46A5BA4FE94B}"/>
          </ac:graphicFrameMkLst>
        </pc:graphicFrameChg>
        <pc:graphicFrameChg chg="add mod modGraphic">
          <ac:chgData name="Everts, Susanne (Allianz Kunde und Markt)" userId="e35a5471-d092-49fe-8ba2-1b95fa53cb5e" providerId="ADAL" clId="{8C6D9FDA-9BE7-4D93-9E4C-F16F369CCE6C}" dt="2024-04-26T09:06:01.296" v="441" actId="1076"/>
          <ac:graphicFrameMkLst>
            <pc:docMk/>
            <pc:sldMk cId="3640110630" sldId="2147483609"/>
            <ac:graphicFrameMk id="6" creationId="{8DADA4E8-4953-1D47-BDDB-A881132236FF}"/>
          </ac:graphicFrameMkLst>
        </pc:graphicFrameChg>
        <pc:graphicFrameChg chg="del">
          <ac:chgData name="Everts, Susanne (Allianz Kunde und Markt)" userId="e35a5471-d092-49fe-8ba2-1b95fa53cb5e" providerId="ADAL" clId="{8C6D9FDA-9BE7-4D93-9E4C-F16F369CCE6C}" dt="2024-04-26T09:05:54.725" v="440" actId="478"/>
          <ac:graphicFrameMkLst>
            <pc:docMk/>
            <pc:sldMk cId="3640110630" sldId="2147483609"/>
            <ac:graphicFrameMk id="16" creationId="{00000000-0000-0000-0000-000000000000}"/>
          </ac:graphicFrameMkLst>
        </pc:graphicFrameChg>
      </pc:sldChg>
      <pc:sldChg chg="addSp delSp modSp add mod ord">
        <pc:chgData name="Everts, Susanne (Allianz Kunde und Markt)" userId="e35a5471-d092-49fe-8ba2-1b95fa53cb5e" providerId="ADAL" clId="{8C6D9FDA-9BE7-4D93-9E4C-F16F369CCE6C}" dt="2024-04-30T12:03:41.424" v="2368" actId="20577"/>
        <pc:sldMkLst>
          <pc:docMk/>
          <pc:sldMk cId="221501774" sldId="2147483610"/>
        </pc:sldMkLst>
        <pc:spChg chg="mod">
          <ac:chgData name="Everts, Susanne (Allianz Kunde und Markt)" userId="e35a5471-d092-49fe-8ba2-1b95fa53cb5e" providerId="ADAL" clId="{8C6D9FDA-9BE7-4D93-9E4C-F16F369CCE6C}" dt="2024-04-26T09:13:00.324" v="491" actId="2711"/>
          <ac:spMkLst>
            <pc:docMk/>
            <pc:sldMk cId="221501774" sldId="2147483610"/>
            <ac:spMk id="2" creationId="{00000000-0000-0000-0000-000000000000}"/>
          </ac:spMkLst>
        </pc:spChg>
        <pc:spChg chg="mod">
          <ac:chgData name="Everts, Susanne (Allianz Kunde und Markt)" userId="e35a5471-d092-49fe-8ba2-1b95fa53cb5e" providerId="ADAL" clId="{8C6D9FDA-9BE7-4D93-9E4C-F16F369CCE6C}" dt="2024-04-30T12:03:28.873" v="2364" actId="14100"/>
          <ac:spMkLst>
            <pc:docMk/>
            <pc:sldMk cId="221501774" sldId="2147483610"/>
            <ac:spMk id="3" creationId="{00000000-0000-0000-0000-000000000000}"/>
          </ac:spMkLst>
        </pc:spChg>
        <pc:spChg chg="add del mod">
          <ac:chgData name="Everts, Susanne (Allianz Kunde und Markt)" userId="e35a5471-d092-49fe-8ba2-1b95fa53cb5e" providerId="ADAL" clId="{8C6D9FDA-9BE7-4D93-9E4C-F16F369CCE6C}" dt="2024-04-30T12:03:07.976" v="2363" actId="478"/>
          <ac:spMkLst>
            <pc:docMk/>
            <pc:sldMk cId="221501774" sldId="2147483610"/>
            <ac:spMk id="4" creationId="{86FDD778-946B-52CF-1E61-A074D3EADD5C}"/>
          </ac:spMkLst>
        </pc:spChg>
        <pc:spChg chg="mod">
          <ac:chgData name="Everts, Susanne (Allianz Kunde und Markt)" userId="e35a5471-d092-49fe-8ba2-1b95fa53cb5e" providerId="ADAL" clId="{8C6D9FDA-9BE7-4D93-9E4C-F16F369CCE6C}" dt="2024-04-30T11:23:54.928" v="1196"/>
          <ac:spMkLst>
            <pc:docMk/>
            <pc:sldMk cId="221501774" sldId="2147483610"/>
            <ac:spMk id="19" creationId="{1E85E34B-22E1-42B6-94A7-0885707F4F6B}"/>
          </ac:spMkLst>
        </pc:spChg>
        <pc:spChg chg="del">
          <ac:chgData name="Everts, Susanne (Allianz Kunde und Markt)" userId="e35a5471-d092-49fe-8ba2-1b95fa53cb5e" providerId="ADAL" clId="{8C6D9FDA-9BE7-4D93-9E4C-F16F369CCE6C}" dt="2024-04-30T11:44:29.596" v="2287" actId="478"/>
          <ac:spMkLst>
            <pc:docMk/>
            <pc:sldMk cId="221501774" sldId="2147483610"/>
            <ac:spMk id="22" creationId="{EFFB0846-6D6D-DC46-A88E-02982350F699}"/>
          </ac:spMkLst>
        </pc:spChg>
        <pc:spChg chg="mod">
          <ac:chgData name="Everts, Susanne (Allianz Kunde und Markt)" userId="e35a5471-d092-49fe-8ba2-1b95fa53cb5e" providerId="ADAL" clId="{8C6D9FDA-9BE7-4D93-9E4C-F16F369CCE6C}" dt="2024-04-30T12:03:03.849" v="2362" actId="207"/>
          <ac:spMkLst>
            <pc:docMk/>
            <pc:sldMk cId="221501774" sldId="2147483610"/>
            <ac:spMk id="25" creationId="{A31690FD-F0C7-BD47-B595-3B2A45517880}"/>
          </ac:spMkLst>
        </pc:spChg>
        <pc:spChg chg="del">
          <ac:chgData name="Everts, Susanne (Allianz Kunde und Markt)" userId="e35a5471-d092-49fe-8ba2-1b95fa53cb5e" providerId="ADAL" clId="{8C6D9FDA-9BE7-4D93-9E4C-F16F369CCE6C}" dt="2024-04-30T11:44:28.121" v="2286" actId="478"/>
          <ac:spMkLst>
            <pc:docMk/>
            <pc:sldMk cId="221501774" sldId="2147483610"/>
            <ac:spMk id="27" creationId="{EFFB0846-6D6D-DC46-A88E-02982350F699}"/>
          </ac:spMkLst>
        </pc:spChg>
        <pc:spChg chg="mod">
          <ac:chgData name="Everts, Susanne (Allianz Kunde und Markt)" userId="e35a5471-d092-49fe-8ba2-1b95fa53cb5e" providerId="ADAL" clId="{8C6D9FDA-9BE7-4D93-9E4C-F16F369CCE6C}" dt="2024-04-30T12:03:41.424" v="2368" actId="20577"/>
          <ac:spMkLst>
            <pc:docMk/>
            <pc:sldMk cId="221501774" sldId="2147483610"/>
            <ac:spMk id="35" creationId="{196DF232-D1B7-44C1-94F0-3B425952DF1B}"/>
          </ac:spMkLst>
        </pc:spChg>
      </pc:sldChg>
      <pc:sldChg chg="modSp add mod">
        <pc:chgData name="Everts, Susanne (Allianz Kunde und Markt)" userId="e35a5471-d092-49fe-8ba2-1b95fa53cb5e" providerId="ADAL" clId="{8C6D9FDA-9BE7-4D93-9E4C-F16F369CCE6C}" dt="2024-04-30T12:03:37.838" v="2366" actId="20577"/>
        <pc:sldMkLst>
          <pc:docMk/>
          <pc:sldMk cId="3283531155" sldId="2147483611"/>
        </pc:sldMkLst>
        <pc:spChg chg="mod">
          <ac:chgData name="Everts, Susanne (Allianz Kunde und Markt)" userId="e35a5471-d092-49fe-8ba2-1b95fa53cb5e" providerId="ADAL" clId="{8C6D9FDA-9BE7-4D93-9E4C-F16F369CCE6C}" dt="2024-04-30T12:03:37.838" v="2366" actId="20577"/>
          <ac:spMkLst>
            <pc:docMk/>
            <pc:sldMk cId="3283531155" sldId="2147483611"/>
            <ac:spMk id="19" creationId="{196DF232-D1B7-44C1-94F0-3B425952DF1B}"/>
          </ac:spMkLst>
        </pc:spChg>
        <pc:spChg chg="mod">
          <ac:chgData name="Everts, Susanne (Allianz Kunde und Markt)" userId="e35a5471-d092-49fe-8ba2-1b95fa53cb5e" providerId="ADAL" clId="{8C6D9FDA-9BE7-4D93-9E4C-F16F369CCE6C}" dt="2024-04-30T11:24:01.442" v="1197"/>
          <ac:spMkLst>
            <pc:docMk/>
            <pc:sldMk cId="3283531155" sldId="2147483611"/>
            <ac:spMk id="20" creationId="{1E85E34B-22E1-42B6-94A7-0885707F4F6B}"/>
          </ac:spMkLst>
        </pc:spChg>
      </pc:sldChg>
      <pc:sldChg chg="addSp delSp modSp add mod">
        <pc:chgData name="Everts, Susanne (Allianz Kunde und Markt)" userId="e35a5471-d092-49fe-8ba2-1b95fa53cb5e" providerId="ADAL" clId="{8C6D9FDA-9BE7-4D93-9E4C-F16F369CCE6C}" dt="2024-05-07T08:28:20.558" v="3063" actId="1076"/>
        <pc:sldMkLst>
          <pc:docMk/>
          <pc:sldMk cId="1782648109" sldId="2147483612"/>
        </pc:sldMkLst>
        <pc:spChg chg="mod">
          <ac:chgData name="Everts, Susanne (Allianz Kunde und Markt)" userId="e35a5471-d092-49fe-8ba2-1b95fa53cb5e" providerId="ADAL" clId="{8C6D9FDA-9BE7-4D93-9E4C-F16F369CCE6C}" dt="2024-05-07T08:20:53.060" v="2704" actId="1036"/>
          <ac:spMkLst>
            <pc:docMk/>
            <pc:sldMk cId="1782648109" sldId="2147483612"/>
            <ac:spMk id="4" creationId="{00000000-0000-0000-0000-000000000000}"/>
          </ac:spMkLst>
        </pc:spChg>
        <pc:spChg chg="del">
          <ac:chgData name="Everts, Susanne (Allianz Kunde und Markt)" userId="e35a5471-d092-49fe-8ba2-1b95fa53cb5e" providerId="ADAL" clId="{8C6D9FDA-9BE7-4D93-9E4C-F16F369CCE6C}" dt="2024-05-07T08:18:56.399" v="2646" actId="478"/>
          <ac:spMkLst>
            <pc:docMk/>
            <pc:sldMk cId="1782648109" sldId="2147483612"/>
            <ac:spMk id="20" creationId="{CA286E2D-E8D0-AF38-E02E-3AD4E6B82BCF}"/>
          </ac:spMkLst>
        </pc:spChg>
        <pc:spChg chg="mod">
          <ac:chgData name="Everts, Susanne (Allianz Kunde und Markt)" userId="e35a5471-d092-49fe-8ba2-1b95fa53cb5e" providerId="ADAL" clId="{8C6D9FDA-9BE7-4D93-9E4C-F16F369CCE6C}" dt="2024-05-07T08:18:42.679" v="2642"/>
          <ac:spMkLst>
            <pc:docMk/>
            <pc:sldMk cId="1782648109" sldId="2147483612"/>
            <ac:spMk id="24" creationId="{1E85E34B-22E1-42B6-94A7-0885707F4F6B}"/>
          </ac:spMkLst>
        </pc:spChg>
        <pc:picChg chg="mod">
          <ac:chgData name="Everts, Susanne (Allianz Kunde und Markt)" userId="e35a5471-d092-49fe-8ba2-1b95fa53cb5e" providerId="ADAL" clId="{8C6D9FDA-9BE7-4D93-9E4C-F16F369CCE6C}" dt="2024-05-07T08:19:24.732" v="2660" actId="555"/>
          <ac:picMkLst>
            <pc:docMk/>
            <pc:sldMk cId="1782648109" sldId="2147483612"/>
            <ac:picMk id="7" creationId="{8CFF13E4-664A-213F-0F91-B0A72EEE0C6D}"/>
          </ac:picMkLst>
        </pc:picChg>
        <pc:picChg chg="add mod">
          <ac:chgData name="Everts, Susanne (Allianz Kunde und Markt)" userId="e35a5471-d092-49fe-8ba2-1b95fa53cb5e" providerId="ADAL" clId="{8C6D9FDA-9BE7-4D93-9E4C-F16F369CCE6C}" dt="2024-05-07T08:28:20.558" v="3063" actId="1076"/>
          <ac:picMkLst>
            <pc:docMk/>
            <pc:sldMk cId="1782648109" sldId="2147483612"/>
            <ac:picMk id="8" creationId="{C7DCC12D-5D3C-83BD-FA15-AE0AAA3043B1}"/>
          </ac:picMkLst>
        </pc:picChg>
        <pc:picChg chg="del">
          <ac:chgData name="Everts, Susanne (Allianz Kunde und Markt)" userId="e35a5471-d092-49fe-8ba2-1b95fa53cb5e" providerId="ADAL" clId="{8C6D9FDA-9BE7-4D93-9E4C-F16F369CCE6C}" dt="2024-05-07T08:18:54.621" v="2644" actId="478"/>
          <ac:picMkLst>
            <pc:docMk/>
            <pc:sldMk cId="1782648109" sldId="2147483612"/>
            <ac:picMk id="11" creationId="{CC19ABE7-D8B0-AB22-B302-0FAFF0E35343}"/>
          </ac:picMkLst>
        </pc:picChg>
        <pc:picChg chg="del mod">
          <ac:chgData name="Everts, Susanne (Allianz Kunde und Markt)" userId="e35a5471-d092-49fe-8ba2-1b95fa53cb5e" providerId="ADAL" clId="{8C6D9FDA-9BE7-4D93-9E4C-F16F369CCE6C}" dt="2024-05-07T08:27:57.560" v="3059" actId="478"/>
          <ac:picMkLst>
            <pc:docMk/>
            <pc:sldMk cId="1782648109" sldId="2147483612"/>
            <ac:picMk id="15" creationId="{998FD020-F3F7-BCE4-B09F-AB27DA10FB3C}"/>
          </ac:picMkLst>
        </pc:picChg>
        <pc:picChg chg="mod">
          <ac:chgData name="Everts, Susanne (Allianz Kunde und Markt)" userId="e35a5471-d092-49fe-8ba2-1b95fa53cb5e" providerId="ADAL" clId="{8C6D9FDA-9BE7-4D93-9E4C-F16F369CCE6C}" dt="2024-05-07T08:19:24.732" v="2660" actId="555"/>
          <ac:picMkLst>
            <pc:docMk/>
            <pc:sldMk cId="1782648109" sldId="2147483612"/>
            <ac:picMk id="19" creationId="{E7C44917-94A4-2209-B6D2-7FFC4894B74B}"/>
          </ac:picMkLst>
        </pc:picChg>
        <pc:cxnChg chg="del">
          <ac:chgData name="Everts, Susanne (Allianz Kunde und Markt)" userId="e35a5471-d092-49fe-8ba2-1b95fa53cb5e" providerId="ADAL" clId="{8C6D9FDA-9BE7-4D93-9E4C-F16F369CCE6C}" dt="2024-05-07T08:18:55.219" v="2645" actId="478"/>
          <ac:cxnSpMkLst>
            <pc:docMk/>
            <pc:sldMk cId="1782648109" sldId="2147483612"/>
            <ac:cxnSpMk id="21" creationId="{C86A147D-AB66-8748-7104-EC319E1100E7}"/>
          </ac:cxnSpMkLst>
        </pc:cxnChg>
      </pc:sldChg>
      <pc:sldChg chg="add del">
        <pc:chgData name="Everts, Susanne (Allianz Kunde und Markt)" userId="e35a5471-d092-49fe-8ba2-1b95fa53cb5e" providerId="ADAL" clId="{8C6D9FDA-9BE7-4D93-9E4C-F16F369CCE6C}" dt="2024-04-26T09:11:17.708" v="482" actId="47"/>
        <pc:sldMkLst>
          <pc:docMk/>
          <pc:sldMk cId="1903449690" sldId="2147483612"/>
        </pc:sldMkLst>
      </pc:sldChg>
      <pc:sldChg chg="add del">
        <pc:chgData name="Everts, Susanne (Allianz Kunde und Markt)" userId="e35a5471-d092-49fe-8ba2-1b95fa53cb5e" providerId="ADAL" clId="{8C6D9FDA-9BE7-4D93-9E4C-F16F369CCE6C}" dt="2024-04-26T09:11:30.614" v="483" actId="47"/>
        <pc:sldMkLst>
          <pc:docMk/>
          <pc:sldMk cId="780155923" sldId="2147483613"/>
        </pc:sldMkLst>
      </pc:sldChg>
      <pc:sldMasterChg chg="delSldLayout">
        <pc:chgData name="Everts, Susanne (Allianz Kunde und Markt)" userId="e35a5471-d092-49fe-8ba2-1b95fa53cb5e" providerId="ADAL" clId="{8C6D9FDA-9BE7-4D93-9E4C-F16F369CCE6C}" dt="2024-04-26T09:11:33.937" v="485" actId="47"/>
        <pc:sldMasterMkLst>
          <pc:docMk/>
          <pc:sldMasterMk cId="971295014" sldId="2147483648"/>
        </pc:sldMasterMkLst>
        <pc:sldLayoutChg chg="del">
          <pc:chgData name="Everts, Susanne (Allianz Kunde und Markt)" userId="e35a5471-d092-49fe-8ba2-1b95fa53cb5e" providerId="ADAL" clId="{8C6D9FDA-9BE7-4D93-9E4C-F16F369CCE6C}" dt="2024-04-26T09:11:33.937" v="485" actId="47"/>
          <pc:sldLayoutMkLst>
            <pc:docMk/>
            <pc:sldMasterMk cId="971295014" sldId="2147483648"/>
            <pc:sldLayoutMk cId="631495954" sldId="2147483754"/>
          </pc:sldLayoutMkLst>
        </pc:sldLayoutChg>
      </pc:sldMasterChg>
      <pc:sldMasterChg chg="del delSldLayout">
        <pc:chgData name="Everts, Susanne (Allianz Kunde und Markt)" userId="e35a5471-d092-49fe-8ba2-1b95fa53cb5e" providerId="ADAL" clId="{8C6D9FDA-9BE7-4D93-9E4C-F16F369CCE6C}" dt="2024-04-26T09:01:28.230" v="279" actId="47"/>
        <pc:sldMasterMkLst>
          <pc:docMk/>
          <pc:sldMasterMk cId="622244337" sldId="2147483716"/>
        </pc:sldMasterMkLst>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1418285130" sldId="2147483717"/>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3291948399" sldId="2147483718"/>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225009996" sldId="2147483719"/>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1856528114" sldId="2147483720"/>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3094456895" sldId="2147483721"/>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3983162083" sldId="2147483722"/>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2429175139" sldId="2147483723"/>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3078028982" sldId="2147483724"/>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452196707" sldId="2147483725"/>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188335835" sldId="2147483726"/>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1397258617" sldId="2147483727"/>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2675346840" sldId="2147483728"/>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3728846540" sldId="2147483729"/>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3540103851" sldId="2147483730"/>
          </pc:sldLayoutMkLst>
        </pc:sldLayoutChg>
        <pc:sldLayoutChg chg="del">
          <pc:chgData name="Everts, Susanne (Allianz Kunde und Markt)" userId="e35a5471-d092-49fe-8ba2-1b95fa53cb5e" providerId="ADAL" clId="{8C6D9FDA-9BE7-4D93-9E4C-F16F369CCE6C}" dt="2024-04-26T09:01:28.230" v="279" actId="47"/>
          <pc:sldLayoutMkLst>
            <pc:docMk/>
            <pc:sldMasterMk cId="622244337" sldId="2147483716"/>
            <pc:sldLayoutMk cId="3752690798" sldId="2147483731"/>
          </pc:sldLayoutMkLst>
        </pc:sldLayoutChg>
      </pc:sldMasterChg>
    </pc:docChg>
  </pc:docChgLst>
  <pc:docChgLst>
    <pc:chgData name="Everts, Susanne (Allianz Kunde und Markt)" userId="e35a5471-d092-49fe-8ba2-1b95fa53cb5e" providerId="ADAL" clId="{999F90E3-0FC2-4A9A-B99A-6B60E2E05E2E}"/>
    <pc:docChg chg="undo redo custSel addSld delSld modSld sldOrd">
      <pc:chgData name="Everts, Susanne (Allianz Kunde und Markt)" userId="e35a5471-d092-49fe-8ba2-1b95fa53cb5e" providerId="ADAL" clId="{999F90E3-0FC2-4A9A-B99A-6B60E2E05E2E}" dt="2024-04-26T08:44:24.413" v="14574" actId="120"/>
      <pc:docMkLst>
        <pc:docMk/>
      </pc:docMkLst>
      <pc:sldChg chg="addSp delSp modSp add mod ord">
        <pc:chgData name="Everts, Susanne (Allianz Kunde und Markt)" userId="e35a5471-d092-49fe-8ba2-1b95fa53cb5e" providerId="ADAL" clId="{999F90E3-0FC2-4A9A-B99A-6B60E2E05E2E}" dt="2024-04-26T07:17:05.568" v="10711" actId="20577"/>
        <pc:sldMkLst>
          <pc:docMk/>
          <pc:sldMk cId="2746217482" sldId="312"/>
        </pc:sldMkLst>
        <pc:spChg chg="mod">
          <ac:chgData name="Everts, Susanne (Allianz Kunde und Markt)" userId="e35a5471-d092-49fe-8ba2-1b95fa53cb5e" providerId="ADAL" clId="{999F90E3-0FC2-4A9A-B99A-6B60E2E05E2E}" dt="2024-04-18T11:39:34.679" v="5182" actId="108"/>
          <ac:spMkLst>
            <pc:docMk/>
            <pc:sldMk cId="2746217482" sldId="312"/>
            <ac:spMk id="2" creationId="{00000000-0000-0000-0000-000000000000}"/>
          </ac:spMkLst>
        </pc:spChg>
        <pc:spChg chg="add del mod">
          <ac:chgData name="Everts, Susanne (Allianz Kunde und Markt)" userId="e35a5471-d092-49fe-8ba2-1b95fa53cb5e" providerId="ADAL" clId="{999F90E3-0FC2-4A9A-B99A-6B60E2E05E2E}" dt="2024-04-18T10:39:41.055" v="2713"/>
          <ac:spMkLst>
            <pc:docMk/>
            <pc:sldMk cId="2746217482" sldId="312"/>
            <ac:spMk id="3" creationId="{0B0AF4AD-07C6-2E8A-427D-AF6876A7DDC8}"/>
          </ac:spMkLst>
        </pc:spChg>
        <pc:spChg chg="add del mod">
          <ac:chgData name="Everts, Susanne (Allianz Kunde und Markt)" userId="e35a5471-d092-49fe-8ba2-1b95fa53cb5e" providerId="ADAL" clId="{999F90E3-0FC2-4A9A-B99A-6B60E2E05E2E}" dt="2024-04-26T07:16:02.618" v="10647" actId="1076"/>
          <ac:spMkLst>
            <pc:docMk/>
            <pc:sldMk cId="2746217482" sldId="312"/>
            <ac:spMk id="3" creationId="{F2F4E5BA-E444-5EAF-66B7-5A831851FB4A}"/>
          </ac:spMkLst>
        </pc:spChg>
        <pc:spChg chg="mod">
          <ac:chgData name="Everts, Susanne (Allianz Kunde und Markt)" userId="e35a5471-d092-49fe-8ba2-1b95fa53cb5e" providerId="ADAL" clId="{999F90E3-0FC2-4A9A-B99A-6B60E2E05E2E}" dt="2024-04-18T11:39:41.498" v="5193" actId="1036"/>
          <ac:spMkLst>
            <pc:docMk/>
            <pc:sldMk cId="2746217482" sldId="312"/>
            <ac:spMk id="4" creationId="{AB7EFCCF-C30C-CE46-91C2-F5C6000CF7E7}"/>
          </ac:spMkLst>
        </pc:spChg>
        <pc:spChg chg="mod">
          <ac:chgData name="Everts, Susanne (Allianz Kunde und Markt)" userId="e35a5471-d092-49fe-8ba2-1b95fa53cb5e" providerId="ADAL" clId="{999F90E3-0FC2-4A9A-B99A-6B60E2E05E2E}" dt="2024-04-18T11:39:41.498" v="5193" actId="1036"/>
          <ac:spMkLst>
            <pc:docMk/>
            <pc:sldMk cId="2746217482" sldId="312"/>
            <ac:spMk id="15" creationId="{8A84A691-CD2D-164A-86D4-9CBC2CD59C09}"/>
          </ac:spMkLst>
        </pc:spChg>
        <pc:spChg chg="mod">
          <ac:chgData name="Everts, Susanne (Allianz Kunde und Markt)" userId="e35a5471-d092-49fe-8ba2-1b95fa53cb5e" providerId="ADAL" clId="{999F90E3-0FC2-4A9A-B99A-6B60E2E05E2E}" dt="2024-04-18T10:37:59.331" v="2585" actId="1076"/>
          <ac:spMkLst>
            <pc:docMk/>
            <pc:sldMk cId="2746217482" sldId="312"/>
            <ac:spMk id="18" creationId="{00000000-0000-0000-0000-000000000000}"/>
          </ac:spMkLst>
        </pc:spChg>
        <pc:spChg chg="mod ord">
          <ac:chgData name="Everts, Susanne (Allianz Kunde und Markt)" userId="e35a5471-d092-49fe-8ba2-1b95fa53cb5e" providerId="ADAL" clId="{999F90E3-0FC2-4A9A-B99A-6B60E2E05E2E}" dt="2024-04-18T10:38:13.464" v="2588" actId="14100"/>
          <ac:spMkLst>
            <pc:docMk/>
            <pc:sldMk cId="2746217482" sldId="312"/>
            <ac:spMk id="22" creationId="{1E85E34B-22E1-42B6-94A7-0885707F4F6B}"/>
          </ac:spMkLst>
        </pc:spChg>
        <pc:spChg chg="mod">
          <ac:chgData name="Everts, Susanne (Allianz Kunde und Markt)" userId="e35a5471-d092-49fe-8ba2-1b95fa53cb5e" providerId="ADAL" clId="{999F90E3-0FC2-4A9A-B99A-6B60E2E05E2E}" dt="2024-04-18T11:39:41.498" v="5193" actId="1036"/>
          <ac:spMkLst>
            <pc:docMk/>
            <pc:sldMk cId="2746217482" sldId="312"/>
            <ac:spMk id="26" creationId="{3B1DDB78-9FFA-3747-9CA3-A9F2757331D1}"/>
          </ac:spMkLst>
        </pc:spChg>
        <pc:spChg chg="mod">
          <ac:chgData name="Everts, Susanne (Allianz Kunde und Markt)" userId="e35a5471-d092-49fe-8ba2-1b95fa53cb5e" providerId="ADAL" clId="{999F90E3-0FC2-4A9A-B99A-6B60E2E05E2E}" dt="2024-04-26T07:17:05.568" v="10711" actId="20577"/>
          <ac:spMkLst>
            <pc:docMk/>
            <pc:sldMk cId="2746217482" sldId="312"/>
            <ac:spMk id="28" creationId="{386D4B4A-BAB2-0C4C-BDDB-EF3BDFEB3F6C}"/>
          </ac:spMkLst>
        </pc:spChg>
        <pc:spChg chg="mod">
          <ac:chgData name="Everts, Susanne (Allianz Kunde und Markt)" userId="e35a5471-d092-49fe-8ba2-1b95fa53cb5e" providerId="ADAL" clId="{999F90E3-0FC2-4A9A-B99A-6B60E2E05E2E}" dt="2024-04-18T11:39:41.498" v="5193" actId="1036"/>
          <ac:spMkLst>
            <pc:docMk/>
            <pc:sldMk cId="2746217482" sldId="312"/>
            <ac:spMk id="32" creationId="{8C63BE07-F754-9440-8448-40517F976BEB}"/>
          </ac:spMkLst>
        </pc:spChg>
        <pc:spChg chg="mod">
          <ac:chgData name="Everts, Susanne (Allianz Kunde und Markt)" userId="e35a5471-d092-49fe-8ba2-1b95fa53cb5e" providerId="ADAL" clId="{999F90E3-0FC2-4A9A-B99A-6B60E2E05E2E}" dt="2024-04-18T11:39:41.498" v="5193" actId="1036"/>
          <ac:spMkLst>
            <pc:docMk/>
            <pc:sldMk cId="2746217482" sldId="312"/>
            <ac:spMk id="33" creationId="{2BA3B72C-C74D-744B-86F2-7B97D527EF79}"/>
          </ac:spMkLst>
        </pc:spChg>
        <pc:spChg chg="mod">
          <ac:chgData name="Everts, Susanne (Allianz Kunde und Markt)" userId="e35a5471-d092-49fe-8ba2-1b95fa53cb5e" providerId="ADAL" clId="{999F90E3-0FC2-4A9A-B99A-6B60E2E05E2E}" dt="2024-04-18T11:40:35.700" v="5264" actId="20577"/>
          <ac:spMkLst>
            <pc:docMk/>
            <pc:sldMk cId="2746217482" sldId="312"/>
            <ac:spMk id="41" creationId="{B8303F0C-BCB4-534B-AE03-5C03CD5304CE}"/>
          </ac:spMkLst>
        </pc:spChg>
        <pc:spChg chg="mod">
          <ac:chgData name="Everts, Susanne (Allianz Kunde und Markt)" userId="e35a5471-d092-49fe-8ba2-1b95fa53cb5e" providerId="ADAL" clId="{999F90E3-0FC2-4A9A-B99A-6B60E2E05E2E}" dt="2024-04-25T04:53:33.411" v="6460" actId="20577"/>
          <ac:spMkLst>
            <pc:docMk/>
            <pc:sldMk cId="2746217482" sldId="312"/>
            <ac:spMk id="53" creationId="{E5852AF5-81F8-A849-ADEB-6046C01E5F27}"/>
          </ac:spMkLst>
        </pc:spChg>
        <pc:spChg chg="mod">
          <ac:chgData name="Everts, Susanne (Allianz Kunde und Markt)" userId="e35a5471-d092-49fe-8ba2-1b95fa53cb5e" providerId="ADAL" clId="{999F90E3-0FC2-4A9A-B99A-6B60E2E05E2E}" dt="2024-04-26T07:15:59.145" v="10640" actId="20577"/>
          <ac:spMkLst>
            <pc:docMk/>
            <pc:sldMk cId="2746217482" sldId="312"/>
            <ac:spMk id="57" creationId="{373CECB8-A722-2D4C-BEA8-F9CB440202B6}"/>
          </ac:spMkLst>
        </pc:spChg>
      </pc:sldChg>
      <pc:sldChg chg="modSp mod">
        <pc:chgData name="Everts, Susanne (Allianz Kunde und Markt)" userId="e35a5471-d092-49fe-8ba2-1b95fa53cb5e" providerId="ADAL" clId="{999F90E3-0FC2-4A9A-B99A-6B60E2E05E2E}" dt="2024-04-18T08:16:38.716" v="19" actId="20577"/>
        <pc:sldMkLst>
          <pc:docMk/>
          <pc:sldMk cId="4186412487" sldId="325"/>
        </pc:sldMkLst>
        <pc:spChg chg="mod">
          <ac:chgData name="Everts, Susanne (Allianz Kunde und Markt)" userId="e35a5471-d092-49fe-8ba2-1b95fa53cb5e" providerId="ADAL" clId="{999F90E3-0FC2-4A9A-B99A-6B60E2E05E2E}" dt="2024-04-18T08:16:38.716" v="19" actId="20577"/>
          <ac:spMkLst>
            <pc:docMk/>
            <pc:sldMk cId="4186412487" sldId="325"/>
            <ac:spMk id="8" creationId="{7AD26D70-5616-4C05-9FA2-2E55246088AA}"/>
          </ac:spMkLst>
        </pc:spChg>
        <pc:spChg chg="mod">
          <ac:chgData name="Everts, Susanne (Allianz Kunde und Markt)" userId="e35a5471-d092-49fe-8ba2-1b95fa53cb5e" providerId="ADAL" clId="{999F90E3-0FC2-4A9A-B99A-6B60E2E05E2E}" dt="2024-04-18T08:16:22.816" v="4" actId="20577"/>
          <ac:spMkLst>
            <pc:docMk/>
            <pc:sldMk cId="4186412487" sldId="325"/>
            <ac:spMk id="9" creationId="{D57B8FD9-B4C3-47DC-BF32-3A803969BCBF}"/>
          </ac:spMkLst>
        </pc:spChg>
        <pc:spChg chg="mod">
          <ac:chgData name="Everts, Susanne (Allianz Kunde und Markt)" userId="e35a5471-d092-49fe-8ba2-1b95fa53cb5e" providerId="ADAL" clId="{999F90E3-0FC2-4A9A-B99A-6B60E2E05E2E}" dt="2024-04-18T08:16:32.399" v="14" actId="20577"/>
          <ac:spMkLst>
            <pc:docMk/>
            <pc:sldMk cId="4186412487" sldId="325"/>
            <ac:spMk id="12" creationId="{D7288FB4-8D6E-4564-A0F7-0020F4D3B75D}"/>
          </ac:spMkLst>
        </pc:spChg>
      </pc:sldChg>
      <pc:sldChg chg="modSp add del mod ord">
        <pc:chgData name="Everts, Susanne (Allianz Kunde und Markt)" userId="e35a5471-d092-49fe-8ba2-1b95fa53cb5e" providerId="ADAL" clId="{999F90E3-0FC2-4A9A-B99A-6B60E2E05E2E}" dt="2024-04-18T10:58:18.922" v="3865" actId="47"/>
        <pc:sldMkLst>
          <pc:docMk/>
          <pc:sldMk cId="110293853" sldId="328"/>
        </pc:sldMkLst>
        <pc:spChg chg="mod">
          <ac:chgData name="Everts, Susanne (Allianz Kunde und Markt)" userId="e35a5471-d092-49fe-8ba2-1b95fa53cb5e" providerId="ADAL" clId="{999F90E3-0FC2-4A9A-B99A-6B60E2E05E2E}" dt="2024-04-18T10:55:06.500" v="3835" actId="1076"/>
          <ac:spMkLst>
            <pc:docMk/>
            <pc:sldMk cId="110293853" sldId="328"/>
            <ac:spMk id="5" creationId="{00000000-0000-0000-0000-000000000000}"/>
          </ac:spMkLst>
        </pc:spChg>
      </pc:sldChg>
      <pc:sldChg chg="modSp add del mod">
        <pc:chgData name="Everts, Susanne (Allianz Kunde und Markt)" userId="e35a5471-d092-49fe-8ba2-1b95fa53cb5e" providerId="ADAL" clId="{999F90E3-0FC2-4A9A-B99A-6B60E2E05E2E}" dt="2024-04-25T07:14:48.565" v="7579" actId="47"/>
        <pc:sldMkLst>
          <pc:docMk/>
          <pc:sldMk cId="3257888621" sldId="331"/>
        </pc:sldMkLst>
        <pc:spChg chg="mod">
          <ac:chgData name="Everts, Susanne (Allianz Kunde und Markt)" userId="e35a5471-d092-49fe-8ba2-1b95fa53cb5e" providerId="ADAL" clId="{999F90E3-0FC2-4A9A-B99A-6B60E2E05E2E}" dt="2024-04-25T07:14:28.439" v="7578" actId="20577"/>
          <ac:spMkLst>
            <pc:docMk/>
            <pc:sldMk cId="3257888621" sldId="331"/>
            <ac:spMk id="30" creationId="{C8748CD0-C80B-DD4F-B212-B82855F23E79}"/>
          </ac:spMkLst>
        </pc:spChg>
        <pc:spChg chg="mod">
          <ac:chgData name="Everts, Susanne (Allianz Kunde und Markt)" userId="e35a5471-d092-49fe-8ba2-1b95fa53cb5e" providerId="ADAL" clId="{999F90E3-0FC2-4A9A-B99A-6B60E2E05E2E}" dt="2024-04-25T07:13:23.453" v="7507" actId="12789"/>
          <ac:spMkLst>
            <pc:docMk/>
            <pc:sldMk cId="3257888621" sldId="331"/>
            <ac:spMk id="32" creationId="{5DA8B122-952F-7B43-A755-67D79E47C17E}"/>
          </ac:spMkLst>
        </pc:spChg>
        <pc:spChg chg="mod">
          <ac:chgData name="Everts, Susanne (Allianz Kunde und Markt)" userId="e35a5471-d092-49fe-8ba2-1b95fa53cb5e" providerId="ADAL" clId="{999F90E3-0FC2-4A9A-B99A-6B60E2E05E2E}" dt="2024-04-25T07:13:23.453" v="7507" actId="12789"/>
          <ac:spMkLst>
            <pc:docMk/>
            <pc:sldMk cId="3257888621" sldId="331"/>
            <ac:spMk id="67" creationId="{5DA8B122-952F-7B43-A755-67D79E47C17E}"/>
          </ac:spMkLst>
        </pc:spChg>
        <pc:spChg chg="mod">
          <ac:chgData name="Everts, Susanne (Allianz Kunde und Markt)" userId="e35a5471-d092-49fe-8ba2-1b95fa53cb5e" providerId="ADAL" clId="{999F90E3-0FC2-4A9A-B99A-6B60E2E05E2E}" dt="2024-04-25T07:13:23.453" v="7507" actId="12789"/>
          <ac:spMkLst>
            <pc:docMk/>
            <pc:sldMk cId="3257888621" sldId="331"/>
            <ac:spMk id="81" creationId="{D79AB167-5FC6-2048-98F9-5C28137B7F79}"/>
          </ac:spMkLst>
        </pc:spChg>
        <pc:spChg chg="mod">
          <ac:chgData name="Everts, Susanne (Allianz Kunde und Markt)" userId="e35a5471-d092-49fe-8ba2-1b95fa53cb5e" providerId="ADAL" clId="{999F90E3-0FC2-4A9A-B99A-6B60E2E05E2E}" dt="2024-04-25T07:13:23.453" v="7507" actId="12789"/>
          <ac:spMkLst>
            <pc:docMk/>
            <pc:sldMk cId="3257888621" sldId="331"/>
            <ac:spMk id="86" creationId="{1351EBEF-A2A0-044D-A2F2-982E7815A3BE}"/>
          </ac:spMkLst>
        </pc:spChg>
        <pc:spChg chg="mod">
          <ac:chgData name="Everts, Susanne (Allianz Kunde und Markt)" userId="e35a5471-d092-49fe-8ba2-1b95fa53cb5e" providerId="ADAL" clId="{999F90E3-0FC2-4A9A-B99A-6B60E2E05E2E}" dt="2024-04-25T07:13:54.405" v="7548" actId="1037"/>
          <ac:spMkLst>
            <pc:docMk/>
            <pc:sldMk cId="3257888621" sldId="331"/>
            <ac:spMk id="134" creationId="{C8748CD0-C80B-DD4F-B212-B82855F23E79}"/>
          </ac:spMkLst>
        </pc:spChg>
        <pc:spChg chg="mod">
          <ac:chgData name="Everts, Susanne (Allianz Kunde und Markt)" userId="e35a5471-d092-49fe-8ba2-1b95fa53cb5e" providerId="ADAL" clId="{999F90E3-0FC2-4A9A-B99A-6B60E2E05E2E}" dt="2024-04-25T07:14:20.491" v="7566" actId="113"/>
          <ac:spMkLst>
            <pc:docMk/>
            <pc:sldMk cId="3257888621" sldId="331"/>
            <ac:spMk id="135" creationId="{E0B0A819-180C-CF4C-8345-F9B9DC1D013C}"/>
          </ac:spMkLst>
        </pc:spChg>
        <pc:grpChg chg="mod">
          <ac:chgData name="Everts, Susanne (Allianz Kunde und Markt)" userId="e35a5471-d092-49fe-8ba2-1b95fa53cb5e" providerId="ADAL" clId="{999F90E3-0FC2-4A9A-B99A-6B60E2E05E2E}" dt="2024-04-25T07:13:23.453" v="7507" actId="12789"/>
          <ac:grpSpMkLst>
            <pc:docMk/>
            <pc:sldMk cId="3257888621" sldId="331"/>
            <ac:grpSpMk id="101" creationId="{61F2A0F7-9398-F448-BF0E-78E4224F63FE}"/>
          </ac:grpSpMkLst>
        </pc:grpChg>
      </pc:sldChg>
      <pc:sldChg chg="modSp del mod">
        <pc:chgData name="Everts, Susanne (Allianz Kunde und Markt)" userId="e35a5471-d092-49fe-8ba2-1b95fa53cb5e" providerId="ADAL" clId="{999F90E3-0FC2-4A9A-B99A-6B60E2E05E2E}" dt="2024-04-18T10:56:46.368" v="3858" actId="47"/>
        <pc:sldMkLst>
          <pc:docMk/>
          <pc:sldMk cId="4294688142" sldId="334"/>
        </pc:sldMkLst>
        <pc:spChg chg="mod">
          <ac:chgData name="Everts, Susanne (Allianz Kunde und Markt)" userId="e35a5471-d092-49fe-8ba2-1b95fa53cb5e" providerId="ADAL" clId="{999F90E3-0FC2-4A9A-B99A-6B60E2E05E2E}" dt="2024-04-18T08:17:12.015" v="41" actId="1036"/>
          <ac:spMkLst>
            <pc:docMk/>
            <pc:sldMk cId="4294688142" sldId="334"/>
            <ac:spMk id="9" creationId="{96691009-8A79-4B19-A8ED-C1CA988A9DF8}"/>
          </ac:spMkLst>
        </pc:spChg>
        <pc:graphicFrameChg chg="mod">
          <ac:chgData name="Everts, Susanne (Allianz Kunde und Markt)" userId="e35a5471-d092-49fe-8ba2-1b95fa53cb5e" providerId="ADAL" clId="{999F90E3-0FC2-4A9A-B99A-6B60E2E05E2E}" dt="2024-04-18T08:17:09.609" v="34" actId="1036"/>
          <ac:graphicFrameMkLst>
            <pc:docMk/>
            <pc:sldMk cId="4294688142" sldId="334"/>
            <ac:graphicFrameMk id="11" creationId="{234555AE-6763-43AF-800A-D61884FD2746}"/>
          </ac:graphicFrameMkLst>
        </pc:graphicFrameChg>
      </pc:sldChg>
      <pc:sldChg chg="addSp delSp modSp mod ord">
        <pc:chgData name="Everts, Susanne (Allianz Kunde und Markt)" userId="e35a5471-d092-49fe-8ba2-1b95fa53cb5e" providerId="ADAL" clId="{999F90E3-0FC2-4A9A-B99A-6B60E2E05E2E}" dt="2024-04-25T07:17:16.557" v="7668" actId="14100"/>
        <pc:sldMkLst>
          <pc:docMk/>
          <pc:sldMk cId="2909442710" sldId="336"/>
        </pc:sldMkLst>
        <pc:spChg chg="add del mod">
          <ac:chgData name="Everts, Susanne (Allianz Kunde und Markt)" userId="e35a5471-d092-49fe-8ba2-1b95fa53cb5e" providerId="ADAL" clId="{999F90E3-0FC2-4A9A-B99A-6B60E2E05E2E}" dt="2024-04-25T07:11:58.582" v="7430"/>
          <ac:spMkLst>
            <pc:docMk/>
            <pc:sldMk cId="2909442710" sldId="336"/>
            <ac:spMk id="2" creationId="{AE905CEE-E38B-120F-8258-E6CA0BE7CF31}"/>
          </ac:spMkLst>
        </pc:spChg>
        <pc:spChg chg="add del mod">
          <ac:chgData name="Everts, Susanne (Allianz Kunde und Markt)" userId="e35a5471-d092-49fe-8ba2-1b95fa53cb5e" providerId="ADAL" clId="{999F90E3-0FC2-4A9A-B99A-6B60E2E05E2E}" dt="2024-04-25T07:11:58.582" v="7430"/>
          <ac:spMkLst>
            <pc:docMk/>
            <pc:sldMk cId="2909442710" sldId="336"/>
            <ac:spMk id="3" creationId="{840C4CA2-66D6-D164-2829-E619232559C4}"/>
          </ac:spMkLst>
        </pc:spChg>
        <pc:spChg chg="add del mod">
          <ac:chgData name="Everts, Susanne (Allianz Kunde und Markt)" userId="e35a5471-d092-49fe-8ba2-1b95fa53cb5e" providerId="ADAL" clId="{999F90E3-0FC2-4A9A-B99A-6B60E2E05E2E}" dt="2024-04-25T07:11:58.582" v="7430"/>
          <ac:spMkLst>
            <pc:docMk/>
            <pc:sldMk cId="2909442710" sldId="336"/>
            <ac:spMk id="4" creationId="{9F0456DB-C367-0C9A-E21C-54CBB34DAACE}"/>
          </ac:spMkLst>
        </pc:spChg>
        <pc:spChg chg="add del mod">
          <ac:chgData name="Everts, Susanne (Allianz Kunde und Markt)" userId="e35a5471-d092-49fe-8ba2-1b95fa53cb5e" providerId="ADAL" clId="{999F90E3-0FC2-4A9A-B99A-6B60E2E05E2E}" dt="2024-04-25T07:11:58.582" v="7430"/>
          <ac:spMkLst>
            <pc:docMk/>
            <pc:sldMk cId="2909442710" sldId="336"/>
            <ac:spMk id="5" creationId="{3A3E616D-4F98-B43C-3263-C3430A12666F}"/>
          </ac:spMkLst>
        </pc:spChg>
        <pc:spChg chg="add del mod">
          <ac:chgData name="Everts, Susanne (Allianz Kunde und Markt)" userId="e35a5471-d092-49fe-8ba2-1b95fa53cb5e" providerId="ADAL" clId="{999F90E3-0FC2-4A9A-B99A-6B60E2E05E2E}" dt="2024-04-25T07:11:58.582" v="7430"/>
          <ac:spMkLst>
            <pc:docMk/>
            <pc:sldMk cId="2909442710" sldId="336"/>
            <ac:spMk id="6" creationId="{6DBA225E-ADC6-2693-1183-749152ED13F4}"/>
          </ac:spMkLst>
        </pc:spChg>
        <pc:spChg chg="add del mod">
          <ac:chgData name="Everts, Susanne (Allianz Kunde und Markt)" userId="e35a5471-d092-49fe-8ba2-1b95fa53cb5e" providerId="ADAL" clId="{999F90E3-0FC2-4A9A-B99A-6B60E2E05E2E}" dt="2024-04-25T07:11:58.582" v="7430"/>
          <ac:spMkLst>
            <pc:docMk/>
            <pc:sldMk cId="2909442710" sldId="336"/>
            <ac:spMk id="11" creationId="{9429DE30-616E-782E-D44E-D0D29C026468}"/>
          </ac:spMkLst>
        </pc:spChg>
        <pc:spChg chg="add del mod">
          <ac:chgData name="Everts, Susanne (Allianz Kunde und Markt)" userId="e35a5471-d092-49fe-8ba2-1b95fa53cb5e" providerId="ADAL" clId="{999F90E3-0FC2-4A9A-B99A-6B60E2E05E2E}" dt="2024-04-25T07:11:58.582" v="7430"/>
          <ac:spMkLst>
            <pc:docMk/>
            <pc:sldMk cId="2909442710" sldId="336"/>
            <ac:spMk id="12" creationId="{A3D32FF7-C1AF-B704-CAC2-98550C1DAAEE}"/>
          </ac:spMkLst>
        </pc:spChg>
        <pc:spChg chg="add mod">
          <ac:chgData name="Everts, Susanne (Allianz Kunde und Markt)" userId="e35a5471-d092-49fe-8ba2-1b95fa53cb5e" providerId="ADAL" clId="{999F90E3-0FC2-4A9A-B99A-6B60E2E05E2E}" dt="2024-04-25T07:12:36.483" v="7501" actId="1036"/>
          <ac:spMkLst>
            <pc:docMk/>
            <pc:sldMk cId="2909442710" sldId="336"/>
            <ac:spMk id="14" creationId="{D0E3FEFA-5329-1EBE-5AA7-2A2FFD27A242}"/>
          </ac:spMkLst>
        </pc:spChg>
        <pc:spChg chg="add mod">
          <ac:chgData name="Everts, Susanne (Allianz Kunde und Markt)" userId="e35a5471-d092-49fe-8ba2-1b95fa53cb5e" providerId="ADAL" clId="{999F90E3-0FC2-4A9A-B99A-6B60E2E05E2E}" dt="2024-04-25T07:16:19.519" v="7666" actId="1036"/>
          <ac:spMkLst>
            <pc:docMk/>
            <pc:sldMk cId="2909442710" sldId="336"/>
            <ac:spMk id="15" creationId="{7CAB3CB5-0B13-7206-6963-0CE2E30206D3}"/>
          </ac:spMkLst>
        </pc:spChg>
        <pc:spChg chg="add mod">
          <ac:chgData name="Everts, Susanne (Allianz Kunde und Markt)" userId="e35a5471-d092-49fe-8ba2-1b95fa53cb5e" providerId="ADAL" clId="{999F90E3-0FC2-4A9A-B99A-6B60E2E05E2E}" dt="2024-04-25T07:16:19.519" v="7666" actId="1036"/>
          <ac:spMkLst>
            <pc:docMk/>
            <pc:sldMk cId="2909442710" sldId="336"/>
            <ac:spMk id="16" creationId="{23B86CA5-BC42-2564-F9C9-7C88DC32A2E7}"/>
          </ac:spMkLst>
        </pc:spChg>
        <pc:spChg chg="add mod">
          <ac:chgData name="Everts, Susanne (Allianz Kunde und Markt)" userId="e35a5471-d092-49fe-8ba2-1b95fa53cb5e" providerId="ADAL" clId="{999F90E3-0FC2-4A9A-B99A-6B60E2E05E2E}" dt="2024-04-25T07:12:44.651" v="7502" actId="554"/>
          <ac:spMkLst>
            <pc:docMk/>
            <pc:sldMk cId="2909442710" sldId="336"/>
            <ac:spMk id="17" creationId="{246A22E5-729C-6589-0B97-E1663D27B54F}"/>
          </ac:spMkLst>
        </pc:spChg>
        <pc:spChg chg="add mod">
          <ac:chgData name="Everts, Susanne (Allianz Kunde und Markt)" userId="e35a5471-d092-49fe-8ba2-1b95fa53cb5e" providerId="ADAL" clId="{999F90E3-0FC2-4A9A-B99A-6B60E2E05E2E}" dt="2024-04-25T07:16:10.244" v="7663" actId="12789"/>
          <ac:spMkLst>
            <pc:docMk/>
            <pc:sldMk cId="2909442710" sldId="336"/>
            <ac:spMk id="18" creationId="{E47EAC95-A9E6-96FE-1055-035F9FFD29ED}"/>
          </ac:spMkLst>
        </pc:spChg>
        <pc:spChg chg="add mod">
          <ac:chgData name="Everts, Susanne (Allianz Kunde und Markt)" userId="e35a5471-d092-49fe-8ba2-1b95fa53cb5e" providerId="ADAL" clId="{999F90E3-0FC2-4A9A-B99A-6B60E2E05E2E}" dt="2024-04-25T07:16:10.244" v="7663" actId="12789"/>
          <ac:spMkLst>
            <pc:docMk/>
            <pc:sldMk cId="2909442710" sldId="336"/>
            <ac:spMk id="20" creationId="{62972E30-CA77-D5DA-9EAA-4070A543DCAE}"/>
          </ac:spMkLst>
        </pc:spChg>
        <pc:spChg chg="add mod">
          <ac:chgData name="Everts, Susanne (Allianz Kunde und Markt)" userId="e35a5471-d092-49fe-8ba2-1b95fa53cb5e" providerId="ADAL" clId="{999F90E3-0FC2-4A9A-B99A-6B60E2E05E2E}" dt="2024-04-25T07:16:19.519" v="7666" actId="1036"/>
          <ac:spMkLst>
            <pc:docMk/>
            <pc:sldMk cId="2909442710" sldId="336"/>
            <ac:spMk id="23" creationId="{25568F4E-C486-82F8-8DB8-CD66754F82FB}"/>
          </ac:spMkLst>
        </pc:spChg>
        <pc:spChg chg="add mod">
          <ac:chgData name="Everts, Susanne (Allianz Kunde und Markt)" userId="e35a5471-d092-49fe-8ba2-1b95fa53cb5e" providerId="ADAL" clId="{999F90E3-0FC2-4A9A-B99A-6B60E2E05E2E}" dt="2024-04-25T07:16:10.244" v="7663" actId="12789"/>
          <ac:spMkLst>
            <pc:docMk/>
            <pc:sldMk cId="2909442710" sldId="336"/>
            <ac:spMk id="24" creationId="{AA6FAE56-45DA-B4F1-E681-9C3748198CAD}"/>
          </ac:spMkLst>
        </pc:spChg>
        <pc:spChg chg="mod">
          <ac:chgData name="Everts, Susanne (Allianz Kunde und Markt)" userId="e35a5471-d092-49fe-8ba2-1b95fa53cb5e" providerId="ADAL" clId="{999F90E3-0FC2-4A9A-B99A-6B60E2E05E2E}" dt="2024-04-25T07:16:19.519" v="7666" actId="1036"/>
          <ac:spMkLst>
            <pc:docMk/>
            <pc:sldMk cId="2909442710" sldId="336"/>
            <ac:spMk id="29" creationId="{B0AFAF5E-236B-1C4A-BF83-93B8E6CDC076}"/>
          </ac:spMkLst>
        </pc:spChg>
        <pc:spChg chg="mod">
          <ac:chgData name="Everts, Susanne (Allianz Kunde und Markt)" userId="e35a5471-d092-49fe-8ba2-1b95fa53cb5e" providerId="ADAL" clId="{999F90E3-0FC2-4A9A-B99A-6B60E2E05E2E}" dt="2024-04-25T07:11:30.665" v="7418" actId="1076"/>
          <ac:spMkLst>
            <pc:docMk/>
            <pc:sldMk cId="2909442710" sldId="336"/>
            <ac:spMk id="36" creationId="{196DF232-D1B7-44C1-94F0-3B425952DF1B}"/>
          </ac:spMkLst>
        </pc:spChg>
        <pc:spChg chg="mod">
          <ac:chgData name="Everts, Susanne (Allianz Kunde und Markt)" userId="e35a5471-d092-49fe-8ba2-1b95fa53cb5e" providerId="ADAL" clId="{999F90E3-0FC2-4A9A-B99A-6B60E2E05E2E}" dt="2024-04-25T07:17:16.557" v="7668" actId="14100"/>
          <ac:spMkLst>
            <pc:docMk/>
            <pc:sldMk cId="2909442710" sldId="336"/>
            <ac:spMk id="37" creationId="{1E85E34B-22E1-42B6-94A7-0885707F4F6B}"/>
          </ac:spMkLst>
        </pc:spChg>
        <pc:spChg chg="add del">
          <ac:chgData name="Everts, Susanne (Allianz Kunde und Markt)" userId="e35a5471-d092-49fe-8ba2-1b95fa53cb5e" providerId="ADAL" clId="{999F90E3-0FC2-4A9A-B99A-6B60E2E05E2E}" dt="2024-04-25T07:12:12.243" v="7441" actId="478"/>
          <ac:spMkLst>
            <pc:docMk/>
            <pc:sldMk cId="2909442710" sldId="336"/>
            <ac:spMk id="67" creationId="{5DA8B122-952F-7B43-A755-67D79E47C17E}"/>
          </ac:spMkLst>
        </pc:spChg>
        <pc:spChg chg="add del">
          <ac:chgData name="Everts, Susanne (Allianz Kunde und Markt)" userId="e35a5471-d092-49fe-8ba2-1b95fa53cb5e" providerId="ADAL" clId="{999F90E3-0FC2-4A9A-B99A-6B60E2E05E2E}" dt="2024-04-25T07:12:12.735" v="7443" actId="478"/>
          <ac:spMkLst>
            <pc:docMk/>
            <pc:sldMk cId="2909442710" sldId="336"/>
            <ac:spMk id="81" creationId="{D79AB167-5FC6-2048-98F9-5C28137B7F79}"/>
          </ac:spMkLst>
        </pc:spChg>
        <pc:spChg chg="mod">
          <ac:chgData name="Everts, Susanne (Allianz Kunde und Markt)" userId="e35a5471-d092-49fe-8ba2-1b95fa53cb5e" providerId="ADAL" clId="{999F90E3-0FC2-4A9A-B99A-6B60E2E05E2E}" dt="2024-04-25T07:16:10.244" v="7663" actId="12789"/>
          <ac:spMkLst>
            <pc:docMk/>
            <pc:sldMk cId="2909442710" sldId="336"/>
            <ac:spMk id="86" creationId="{1351EBEF-A2A0-044D-A2F2-982E7815A3BE}"/>
          </ac:spMkLst>
        </pc:spChg>
        <pc:spChg chg="mod">
          <ac:chgData name="Everts, Susanne (Allianz Kunde und Markt)" userId="e35a5471-d092-49fe-8ba2-1b95fa53cb5e" providerId="ADAL" clId="{999F90E3-0FC2-4A9A-B99A-6B60E2E05E2E}" dt="2024-04-25T07:12:44.651" v="7502" actId="554"/>
          <ac:spMkLst>
            <pc:docMk/>
            <pc:sldMk cId="2909442710" sldId="336"/>
            <ac:spMk id="92" creationId="{5A1C6D6F-B982-9346-8888-A0AC370373C6}"/>
          </ac:spMkLst>
        </pc:spChg>
        <pc:spChg chg="add del">
          <ac:chgData name="Everts, Susanne (Allianz Kunde und Markt)" userId="e35a5471-d092-49fe-8ba2-1b95fa53cb5e" providerId="ADAL" clId="{999F90E3-0FC2-4A9A-B99A-6B60E2E05E2E}" dt="2024-04-25T07:12:13.478" v="7445" actId="478"/>
          <ac:spMkLst>
            <pc:docMk/>
            <pc:sldMk cId="2909442710" sldId="336"/>
            <ac:spMk id="93" creationId="{8C3DA20A-0B3A-1E47-8924-36F34279335D}"/>
          </ac:spMkLst>
        </pc:spChg>
        <pc:spChg chg="del">
          <ac:chgData name="Everts, Susanne (Allianz Kunde und Markt)" userId="e35a5471-d092-49fe-8ba2-1b95fa53cb5e" providerId="ADAL" clId="{999F90E3-0FC2-4A9A-B99A-6B60E2E05E2E}" dt="2024-04-25T07:11:27.673" v="7416" actId="478"/>
          <ac:spMkLst>
            <pc:docMk/>
            <pc:sldMk cId="2909442710" sldId="336"/>
            <ac:spMk id="111" creationId="{EFFF893A-2C8B-524C-B0F6-C4201F08DE9A}"/>
          </ac:spMkLst>
        </pc:spChg>
        <pc:spChg chg="add del mod">
          <ac:chgData name="Everts, Susanne (Allianz Kunde und Markt)" userId="e35a5471-d092-49fe-8ba2-1b95fa53cb5e" providerId="ADAL" clId="{999F90E3-0FC2-4A9A-B99A-6B60E2E05E2E}" dt="2024-04-25T07:12:12.004" v="7440" actId="478"/>
          <ac:spMkLst>
            <pc:docMk/>
            <pc:sldMk cId="2909442710" sldId="336"/>
            <ac:spMk id="134" creationId="{C8748CD0-C80B-DD4F-B212-B82855F23E79}"/>
          </ac:spMkLst>
        </pc:spChg>
        <pc:spChg chg="add del mod">
          <ac:chgData name="Everts, Susanne (Allianz Kunde und Markt)" userId="e35a5471-d092-49fe-8ba2-1b95fa53cb5e" providerId="ADAL" clId="{999F90E3-0FC2-4A9A-B99A-6B60E2E05E2E}" dt="2024-04-25T07:12:13.093" v="7444" actId="478"/>
          <ac:spMkLst>
            <pc:docMk/>
            <pc:sldMk cId="2909442710" sldId="336"/>
            <ac:spMk id="135" creationId="{E0B0A819-180C-CF4C-8345-F9B9DC1D013C}"/>
          </ac:spMkLst>
        </pc:spChg>
        <pc:spChg chg="mod">
          <ac:chgData name="Everts, Susanne (Allianz Kunde und Markt)" userId="e35a5471-d092-49fe-8ba2-1b95fa53cb5e" providerId="ADAL" clId="{999F90E3-0FC2-4A9A-B99A-6B60E2E05E2E}" dt="2024-04-25T07:16:19.519" v="7666" actId="1036"/>
          <ac:spMkLst>
            <pc:docMk/>
            <pc:sldMk cId="2909442710" sldId="336"/>
            <ac:spMk id="136" creationId="{5E8F3349-17FF-D141-A067-5A7C56CB3FA6}"/>
          </ac:spMkLst>
        </pc:spChg>
        <pc:spChg chg="mod">
          <ac:chgData name="Everts, Susanne (Allianz Kunde und Markt)" userId="e35a5471-d092-49fe-8ba2-1b95fa53cb5e" providerId="ADAL" clId="{999F90E3-0FC2-4A9A-B99A-6B60E2E05E2E}" dt="2024-04-25T07:16:19.519" v="7666" actId="1036"/>
          <ac:spMkLst>
            <pc:docMk/>
            <pc:sldMk cId="2909442710" sldId="336"/>
            <ac:spMk id="161" creationId="{5959228C-D05E-4746-85BC-634B81770D3A}"/>
          </ac:spMkLst>
        </pc:spChg>
        <pc:grpChg chg="mod">
          <ac:chgData name="Everts, Susanne (Allianz Kunde und Markt)" userId="e35a5471-d092-49fe-8ba2-1b95fa53cb5e" providerId="ADAL" clId="{999F90E3-0FC2-4A9A-B99A-6B60E2E05E2E}" dt="2024-04-25T07:16:10.244" v="7663" actId="12789"/>
          <ac:grpSpMkLst>
            <pc:docMk/>
            <pc:sldMk cId="2909442710" sldId="336"/>
            <ac:grpSpMk id="101" creationId="{61F2A0F7-9398-F448-BF0E-78E4224F63FE}"/>
          </ac:grpSpMkLst>
        </pc:grpChg>
        <pc:picChg chg="add del mod">
          <ac:chgData name="Everts, Susanne (Allianz Kunde und Markt)" userId="e35a5471-d092-49fe-8ba2-1b95fa53cb5e" providerId="ADAL" clId="{999F90E3-0FC2-4A9A-B99A-6B60E2E05E2E}" dt="2024-04-25T07:11:58.582" v="7430"/>
          <ac:picMkLst>
            <pc:docMk/>
            <pc:sldMk cId="2909442710" sldId="336"/>
            <ac:picMk id="7" creationId="{D3ABC232-B315-E86B-4387-7BBBDD72EE4E}"/>
          </ac:picMkLst>
        </pc:picChg>
        <pc:picChg chg="add del mod">
          <ac:chgData name="Everts, Susanne (Allianz Kunde und Markt)" userId="e35a5471-d092-49fe-8ba2-1b95fa53cb5e" providerId="ADAL" clId="{999F90E3-0FC2-4A9A-B99A-6B60E2E05E2E}" dt="2024-04-25T07:11:58.582" v="7430"/>
          <ac:picMkLst>
            <pc:docMk/>
            <pc:sldMk cId="2909442710" sldId="336"/>
            <ac:picMk id="8" creationId="{D61E99B8-AD2A-28D9-02F5-B54CC99C40BA}"/>
          </ac:picMkLst>
        </pc:picChg>
        <pc:picChg chg="add del mod">
          <ac:chgData name="Everts, Susanne (Allianz Kunde und Markt)" userId="e35a5471-d092-49fe-8ba2-1b95fa53cb5e" providerId="ADAL" clId="{999F90E3-0FC2-4A9A-B99A-6B60E2E05E2E}" dt="2024-04-25T07:11:58.582" v="7430"/>
          <ac:picMkLst>
            <pc:docMk/>
            <pc:sldMk cId="2909442710" sldId="336"/>
            <ac:picMk id="13" creationId="{827A2A18-C344-CE8B-B0CA-66345EE2204B}"/>
          </ac:picMkLst>
        </pc:picChg>
        <pc:picChg chg="add mod">
          <ac:chgData name="Everts, Susanne (Allianz Kunde und Markt)" userId="e35a5471-d092-49fe-8ba2-1b95fa53cb5e" providerId="ADAL" clId="{999F90E3-0FC2-4A9A-B99A-6B60E2E05E2E}" dt="2024-04-25T07:12:36.483" v="7501" actId="1036"/>
          <ac:picMkLst>
            <pc:docMk/>
            <pc:sldMk cId="2909442710" sldId="336"/>
            <ac:picMk id="21" creationId="{7D2E69BC-650E-7049-D331-F7683E4F12C2}"/>
          </ac:picMkLst>
        </pc:picChg>
        <pc:picChg chg="add mod">
          <ac:chgData name="Everts, Susanne (Allianz Kunde und Markt)" userId="e35a5471-d092-49fe-8ba2-1b95fa53cb5e" providerId="ADAL" clId="{999F90E3-0FC2-4A9A-B99A-6B60E2E05E2E}" dt="2024-04-25T07:12:36.483" v="7501" actId="1036"/>
          <ac:picMkLst>
            <pc:docMk/>
            <pc:sldMk cId="2909442710" sldId="336"/>
            <ac:picMk id="22" creationId="{0B955748-BBAF-1695-F848-1DE7D6947A4A}"/>
          </ac:picMkLst>
        </pc:picChg>
        <pc:picChg chg="add mod">
          <ac:chgData name="Everts, Susanne (Allianz Kunde und Markt)" userId="e35a5471-d092-49fe-8ba2-1b95fa53cb5e" providerId="ADAL" clId="{999F90E3-0FC2-4A9A-B99A-6B60E2E05E2E}" dt="2024-04-25T07:12:36.483" v="7501" actId="1036"/>
          <ac:picMkLst>
            <pc:docMk/>
            <pc:sldMk cId="2909442710" sldId="336"/>
            <ac:picMk id="25" creationId="{4C217A5A-DCD3-0583-2F20-A6709BED1CFB}"/>
          </ac:picMkLst>
        </pc:picChg>
        <pc:picChg chg="add del">
          <ac:chgData name="Everts, Susanne (Allianz Kunde und Markt)" userId="e35a5471-d092-49fe-8ba2-1b95fa53cb5e" providerId="ADAL" clId="{999F90E3-0FC2-4A9A-B99A-6B60E2E05E2E}" dt="2024-04-25T07:12:12.474" v="7442" actId="478"/>
          <ac:picMkLst>
            <pc:docMk/>
            <pc:sldMk cId="2909442710" sldId="336"/>
            <ac:picMk id="66" creationId="{11D21012-3251-DB4D-B68C-23477BC6B017}"/>
          </ac:picMkLst>
        </pc:picChg>
        <pc:picChg chg="add del">
          <ac:chgData name="Everts, Susanne (Allianz Kunde und Markt)" userId="e35a5471-d092-49fe-8ba2-1b95fa53cb5e" providerId="ADAL" clId="{999F90E3-0FC2-4A9A-B99A-6B60E2E05E2E}" dt="2024-04-25T07:12:11.726" v="7439" actId="478"/>
          <ac:picMkLst>
            <pc:docMk/>
            <pc:sldMk cId="2909442710" sldId="336"/>
            <ac:picMk id="71" creationId="{97F957F1-11DA-154B-AA56-4CDAAFD09A2B}"/>
          </ac:picMkLst>
        </pc:picChg>
      </pc:sldChg>
      <pc:sldChg chg="addSp modSp mod">
        <pc:chgData name="Everts, Susanne (Allianz Kunde und Markt)" userId="e35a5471-d092-49fe-8ba2-1b95fa53cb5e" providerId="ADAL" clId="{999F90E3-0FC2-4A9A-B99A-6B60E2E05E2E}" dt="2024-04-26T07:36:40.438" v="11744" actId="108"/>
        <pc:sldMkLst>
          <pc:docMk/>
          <pc:sldMk cId="302209885" sldId="339"/>
        </pc:sldMkLst>
        <pc:spChg chg="mod">
          <ac:chgData name="Everts, Susanne (Allianz Kunde und Markt)" userId="e35a5471-d092-49fe-8ba2-1b95fa53cb5e" providerId="ADAL" clId="{999F90E3-0FC2-4A9A-B99A-6B60E2E05E2E}" dt="2024-04-26T07:36:02.360" v="11720" actId="14100"/>
          <ac:spMkLst>
            <pc:docMk/>
            <pc:sldMk cId="302209885" sldId="339"/>
            <ac:spMk id="2" creationId="{00000000-0000-0000-0000-000000000000}"/>
          </ac:spMkLst>
        </pc:spChg>
        <pc:spChg chg="add mod">
          <ac:chgData name="Everts, Susanne (Allianz Kunde und Markt)" userId="e35a5471-d092-49fe-8ba2-1b95fa53cb5e" providerId="ADAL" clId="{999F90E3-0FC2-4A9A-B99A-6B60E2E05E2E}" dt="2024-04-26T07:35:13.428" v="11713" actId="20577"/>
          <ac:spMkLst>
            <pc:docMk/>
            <pc:sldMk cId="302209885" sldId="339"/>
            <ac:spMk id="3" creationId="{54ECFA0F-ED57-B720-5066-42B9A7D69165}"/>
          </ac:spMkLst>
        </pc:spChg>
        <pc:spChg chg="mod">
          <ac:chgData name="Everts, Susanne (Allianz Kunde und Markt)" userId="e35a5471-d092-49fe-8ba2-1b95fa53cb5e" providerId="ADAL" clId="{999F90E3-0FC2-4A9A-B99A-6B60E2E05E2E}" dt="2024-04-26T07:36:25.061" v="11743" actId="1035"/>
          <ac:spMkLst>
            <pc:docMk/>
            <pc:sldMk cId="302209885" sldId="339"/>
            <ac:spMk id="5" creationId="{00000000-0000-0000-0000-000000000000}"/>
          </ac:spMkLst>
        </pc:spChg>
        <pc:spChg chg="mod">
          <ac:chgData name="Everts, Susanne (Allianz Kunde und Markt)" userId="e35a5471-d092-49fe-8ba2-1b95fa53cb5e" providerId="ADAL" clId="{999F90E3-0FC2-4A9A-B99A-6B60E2E05E2E}" dt="2024-04-18T11:48:30.057" v="5548" actId="1035"/>
          <ac:spMkLst>
            <pc:docMk/>
            <pc:sldMk cId="302209885" sldId="339"/>
            <ac:spMk id="9" creationId="{00000000-0000-0000-0000-000000000000}"/>
          </ac:spMkLst>
        </pc:spChg>
        <pc:spChg chg="mod">
          <ac:chgData name="Everts, Susanne (Allianz Kunde und Markt)" userId="e35a5471-d092-49fe-8ba2-1b95fa53cb5e" providerId="ADAL" clId="{999F90E3-0FC2-4A9A-B99A-6B60E2E05E2E}" dt="2024-04-25T07:17:37.620" v="7675" actId="14100"/>
          <ac:spMkLst>
            <pc:docMk/>
            <pc:sldMk cId="302209885" sldId="339"/>
            <ac:spMk id="24" creationId="{1E85E34B-22E1-42B6-94A7-0885707F4F6B}"/>
          </ac:spMkLst>
        </pc:spChg>
        <pc:spChg chg="mod">
          <ac:chgData name="Everts, Susanne (Allianz Kunde und Markt)" userId="e35a5471-d092-49fe-8ba2-1b95fa53cb5e" providerId="ADAL" clId="{999F90E3-0FC2-4A9A-B99A-6B60E2E05E2E}" dt="2024-04-26T07:36:40.438" v="11744" actId="108"/>
          <ac:spMkLst>
            <pc:docMk/>
            <pc:sldMk cId="302209885" sldId="339"/>
            <ac:spMk id="38" creationId="{00000000-0000-0000-0000-000000000000}"/>
          </ac:spMkLst>
        </pc:spChg>
        <pc:spChg chg="mod">
          <ac:chgData name="Everts, Susanne (Allianz Kunde und Markt)" userId="e35a5471-d092-49fe-8ba2-1b95fa53cb5e" providerId="ADAL" clId="{999F90E3-0FC2-4A9A-B99A-6B60E2E05E2E}" dt="2024-04-18T11:49:08.020" v="5591" actId="1036"/>
          <ac:spMkLst>
            <pc:docMk/>
            <pc:sldMk cId="302209885" sldId="339"/>
            <ac:spMk id="43" creationId="{00000000-0000-0000-0000-000000000000}"/>
          </ac:spMkLst>
        </pc:spChg>
        <pc:graphicFrameChg chg="mod modGraphic">
          <ac:chgData name="Everts, Susanne (Allianz Kunde und Markt)" userId="e35a5471-d092-49fe-8ba2-1b95fa53cb5e" providerId="ADAL" clId="{999F90E3-0FC2-4A9A-B99A-6B60E2E05E2E}" dt="2024-04-26T07:36:20.310" v="11732" actId="1035"/>
          <ac:graphicFrameMkLst>
            <pc:docMk/>
            <pc:sldMk cId="302209885" sldId="339"/>
            <ac:graphicFrameMk id="44" creationId="{00000000-0000-0000-0000-000000000000}"/>
          </ac:graphicFrameMkLst>
        </pc:graphicFrameChg>
      </pc:sldChg>
      <pc:sldChg chg="addSp delSp modSp mod">
        <pc:chgData name="Everts, Susanne (Allianz Kunde und Markt)" userId="e35a5471-d092-49fe-8ba2-1b95fa53cb5e" providerId="ADAL" clId="{999F90E3-0FC2-4A9A-B99A-6B60E2E05E2E}" dt="2024-04-26T07:37:23.168" v="11759" actId="1038"/>
        <pc:sldMkLst>
          <pc:docMk/>
          <pc:sldMk cId="3439609938" sldId="340"/>
        </pc:sldMkLst>
        <pc:spChg chg="mod">
          <ac:chgData name="Everts, Susanne (Allianz Kunde und Markt)" userId="e35a5471-d092-49fe-8ba2-1b95fa53cb5e" providerId="ADAL" clId="{999F90E3-0FC2-4A9A-B99A-6B60E2E05E2E}" dt="2024-04-18T11:52:46.028" v="5852" actId="20577"/>
          <ac:spMkLst>
            <pc:docMk/>
            <pc:sldMk cId="3439609938" sldId="340"/>
            <ac:spMk id="2" creationId="{00000000-0000-0000-0000-000000000000}"/>
          </ac:spMkLst>
        </pc:spChg>
        <pc:spChg chg="mod">
          <ac:chgData name="Everts, Susanne (Allianz Kunde und Markt)" userId="e35a5471-d092-49fe-8ba2-1b95fa53cb5e" providerId="ADAL" clId="{999F90E3-0FC2-4A9A-B99A-6B60E2E05E2E}" dt="2024-04-26T07:36:57.669" v="11755" actId="14100"/>
          <ac:spMkLst>
            <pc:docMk/>
            <pc:sldMk cId="3439609938" sldId="340"/>
            <ac:spMk id="5" creationId="{00000000-0000-0000-0000-000000000000}"/>
          </ac:spMkLst>
        </pc:spChg>
        <pc:spChg chg="mod">
          <ac:chgData name="Everts, Susanne (Allianz Kunde und Markt)" userId="e35a5471-d092-49fe-8ba2-1b95fa53cb5e" providerId="ADAL" clId="{999F90E3-0FC2-4A9A-B99A-6B60E2E05E2E}" dt="2024-04-26T07:37:23.168" v="11759" actId="1038"/>
          <ac:spMkLst>
            <pc:docMk/>
            <pc:sldMk cId="3439609938" sldId="340"/>
            <ac:spMk id="15" creationId="{00000000-0000-0000-0000-000000000000}"/>
          </ac:spMkLst>
        </pc:spChg>
        <pc:spChg chg="mod">
          <ac:chgData name="Everts, Susanne (Allianz Kunde und Markt)" userId="e35a5471-d092-49fe-8ba2-1b95fa53cb5e" providerId="ADAL" clId="{999F90E3-0FC2-4A9A-B99A-6B60E2E05E2E}" dt="2024-04-25T07:17:42.193" v="7677" actId="14100"/>
          <ac:spMkLst>
            <pc:docMk/>
            <pc:sldMk cId="3439609938" sldId="340"/>
            <ac:spMk id="24" creationId="{1E85E34B-22E1-42B6-94A7-0885707F4F6B}"/>
          </ac:spMkLst>
        </pc:spChg>
        <pc:graphicFrameChg chg="add del">
          <ac:chgData name="Everts, Susanne (Allianz Kunde und Markt)" userId="e35a5471-d092-49fe-8ba2-1b95fa53cb5e" providerId="ADAL" clId="{999F90E3-0FC2-4A9A-B99A-6B60E2E05E2E}" dt="2024-04-25T11:11:05.875" v="10255" actId="478"/>
          <ac:graphicFrameMkLst>
            <pc:docMk/>
            <pc:sldMk cId="3439609938" sldId="340"/>
            <ac:graphicFrameMk id="3" creationId="{2B1C53BC-0D31-3708-68BA-FD49B3DBF0AD}"/>
          </ac:graphicFrameMkLst>
        </pc:graphicFrameChg>
        <pc:graphicFrameChg chg="add del mod">
          <ac:chgData name="Everts, Susanne (Allianz Kunde und Markt)" userId="e35a5471-d092-49fe-8ba2-1b95fa53cb5e" providerId="ADAL" clId="{999F90E3-0FC2-4A9A-B99A-6B60E2E05E2E}" dt="2024-04-25T11:11:29.323" v="10258" actId="478"/>
          <ac:graphicFrameMkLst>
            <pc:docMk/>
            <pc:sldMk cId="3439609938" sldId="340"/>
            <ac:graphicFrameMk id="4" creationId="{733882D6-5462-710B-B6F5-2A5CCB6ABD47}"/>
          </ac:graphicFrameMkLst>
        </pc:graphicFrameChg>
      </pc:sldChg>
      <pc:sldChg chg="modSp mod ord">
        <pc:chgData name="Everts, Susanne (Allianz Kunde und Markt)" userId="e35a5471-d092-49fe-8ba2-1b95fa53cb5e" providerId="ADAL" clId="{999F90E3-0FC2-4A9A-B99A-6B60E2E05E2E}" dt="2024-04-25T07:18:28.568" v="7695" actId="14100"/>
        <pc:sldMkLst>
          <pc:docMk/>
          <pc:sldMk cId="1865615597" sldId="341"/>
        </pc:sldMkLst>
        <pc:spChg chg="mod">
          <ac:chgData name="Everts, Susanne (Allianz Kunde und Markt)" userId="e35a5471-d092-49fe-8ba2-1b95fa53cb5e" providerId="ADAL" clId="{999F90E3-0FC2-4A9A-B99A-6B60E2E05E2E}" dt="2024-04-25T07:18:28.568" v="7695" actId="14100"/>
          <ac:spMkLst>
            <pc:docMk/>
            <pc:sldMk cId="1865615597" sldId="341"/>
            <ac:spMk id="24" creationId="{1E85E34B-22E1-42B6-94A7-0885707F4F6B}"/>
          </ac:spMkLst>
        </pc:spChg>
      </pc:sldChg>
      <pc:sldChg chg="modSp mod">
        <pc:chgData name="Everts, Susanne (Allianz Kunde und Markt)" userId="e35a5471-d092-49fe-8ba2-1b95fa53cb5e" providerId="ADAL" clId="{999F90E3-0FC2-4A9A-B99A-6B60E2E05E2E}" dt="2024-04-25T07:18:18.576" v="7691" actId="14100"/>
        <pc:sldMkLst>
          <pc:docMk/>
          <pc:sldMk cId="3838429458" sldId="343"/>
        </pc:sldMkLst>
        <pc:spChg chg="mod">
          <ac:chgData name="Everts, Susanne (Allianz Kunde und Markt)" userId="e35a5471-d092-49fe-8ba2-1b95fa53cb5e" providerId="ADAL" clId="{999F90E3-0FC2-4A9A-B99A-6B60E2E05E2E}" dt="2024-04-25T07:18:18.576" v="7691" actId="14100"/>
          <ac:spMkLst>
            <pc:docMk/>
            <pc:sldMk cId="3838429458" sldId="343"/>
            <ac:spMk id="24" creationId="{1E85E34B-22E1-42B6-94A7-0885707F4F6B}"/>
          </ac:spMkLst>
        </pc:spChg>
      </pc:sldChg>
      <pc:sldChg chg="addSp delSp modSp mod">
        <pc:chgData name="Everts, Susanne (Allianz Kunde und Markt)" userId="e35a5471-d092-49fe-8ba2-1b95fa53cb5e" providerId="ADAL" clId="{999F90E3-0FC2-4A9A-B99A-6B60E2E05E2E}" dt="2024-04-26T08:19:18.664" v="13515" actId="20577"/>
        <pc:sldMkLst>
          <pc:docMk/>
          <pc:sldMk cId="3803048978" sldId="344"/>
        </pc:sldMkLst>
        <pc:spChg chg="mod ord">
          <ac:chgData name="Everts, Susanne (Allianz Kunde und Markt)" userId="e35a5471-d092-49fe-8ba2-1b95fa53cb5e" providerId="ADAL" clId="{999F90E3-0FC2-4A9A-B99A-6B60E2E05E2E}" dt="2024-04-26T08:18:02.706" v="13378" actId="121"/>
          <ac:spMkLst>
            <pc:docMk/>
            <pc:sldMk cId="3803048978" sldId="344"/>
            <ac:spMk id="5" creationId="{00000000-0000-0000-0000-000000000000}"/>
          </ac:spMkLst>
        </pc:spChg>
        <pc:spChg chg="mod">
          <ac:chgData name="Everts, Susanne (Allianz Kunde und Markt)" userId="e35a5471-d092-49fe-8ba2-1b95fa53cb5e" providerId="ADAL" clId="{999F90E3-0FC2-4A9A-B99A-6B60E2E05E2E}" dt="2024-04-26T08:19:01.607" v="13506" actId="1076"/>
          <ac:spMkLst>
            <pc:docMk/>
            <pc:sldMk cId="3803048978" sldId="344"/>
            <ac:spMk id="21" creationId="{C79BBB7C-5CDB-AB45-816B-88FC00B85060}"/>
          </ac:spMkLst>
        </pc:spChg>
        <pc:spChg chg="mod">
          <ac:chgData name="Everts, Susanne (Allianz Kunde und Markt)" userId="e35a5471-d092-49fe-8ba2-1b95fa53cb5e" providerId="ADAL" clId="{999F90E3-0FC2-4A9A-B99A-6B60E2E05E2E}" dt="2024-04-26T08:18:51.752" v="13501" actId="121"/>
          <ac:spMkLst>
            <pc:docMk/>
            <pc:sldMk cId="3803048978" sldId="344"/>
            <ac:spMk id="22" creationId="{C79BBB7C-5CDB-AB45-816B-88FC00B85060}"/>
          </ac:spMkLst>
        </pc:spChg>
        <pc:spChg chg="mod">
          <ac:chgData name="Everts, Susanne (Allianz Kunde und Markt)" userId="e35a5471-d092-49fe-8ba2-1b95fa53cb5e" providerId="ADAL" clId="{999F90E3-0FC2-4A9A-B99A-6B60E2E05E2E}" dt="2024-04-25T07:18:23.852" v="7693" actId="14100"/>
          <ac:spMkLst>
            <pc:docMk/>
            <pc:sldMk cId="3803048978" sldId="344"/>
            <ac:spMk id="24" creationId="{1E85E34B-22E1-42B6-94A7-0885707F4F6B}"/>
          </ac:spMkLst>
        </pc:spChg>
        <pc:spChg chg="mod">
          <ac:chgData name="Everts, Susanne (Allianz Kunde und Markt)" userId="e35a5471-d092-49fe-8ba2-1b95fa53cb5e" providerId="ADAL" clId="{999F90E3-0FC2-4A9A-B99A-6B60E2E05E2E}" dt="2024-04-26T08:19:18.664" v="13515" actId="20577"/>
          <ac:spMkLst>
            <pc:docMk/>
            <pc:sldMk cId="3803048978" sldId="344"/>
            <ac:spMk id="32" creationId="{C79BBB7C-5CDB-AB45-816B-88FC00B85060}"/>
          </ac:spMkLst>
        </pc:spChg>
        <pc:spChg chg="mod">
          <ac:chgData name="Everts, Susanne (Allianz Kunde und Markt)" userId="e35a5471-d092-49fe-8ba2-1b95fa53cb5e" providerId="ADAL" clId="{999F90E3-0FC2-4A9A-B99A-6B60E2E05E2E}" dt="2024-04-26T08:19:06.060" v="13509" actId="1076"/>
          <ac:spMkLst>
            <pc:docMk/>
            <pc:sldMk cId="3803048978" sldId="344"/>
            <ac:spMk id="35" creationId="{C79BBB7C-5CDB-AB45-816B-88FC00B85060}"/>
          </ac:spMkLst>
        </pc:spChg>
        <pc:spChg chg="del mod">
          <ac:chgData name="Everts, Susanne (Allianz Kunde und Markt)" userId="e35a5471-d092-49fe-8ba2-1b95fa53cb5e" providerId="ADAL" clId="{999F90E3-0FC2-4A9A-B99A-6B60E2E05E2E}" dt="2024-04-26T08:19:04.111" v="13508" actId="478"/>
          <ac:spMkLst>
            <pc:docMk/>
            <pc:sldMk cId="3803048978" sldId="344"/>
            <ac:spMk id="37" creationId="{C79BBB7C-5CDB-AB45-816B-88FC00B85060}"/>
          </ac:spMkLst>
        </pc:spChg>
        <pc:picChg chg="del">
          <ac:chgData name="Everts, Susanne (Allianz Kunde und Markt)" userId="e35a5471-d092-49fe-8ba2-1b95fa53cb5e" providerId="ADAL" clId="{999F90E3-0FC2-4A9A-B99A-6B60E2E05E2E}" dt="2024-04-18T12:41:05.079" v="6305" actId="478"/>
          <ac:picMkLst>
            <pc:docMk/>
            <pc:sldMk cId="3803048978" sldId="344"/>
            <ac:picMk id="4" creationId="{00000000-0000-0000-0000-000000000000}"/>
          </ac:picMkLst>
        </pc:picChg>
        <pc:picChg chg="add mod ord">
          <ac:chgData name="Everts, Susanne (Allianz Kunde und Markt)" userId="e35a5471-d092-49fe-8ba2-1b95fa53cb5e" providerId="ADAL" clId="{999F90E3-0FC2-4A9A-B99A-6B60E2E05E2E}" dt="2024-04-26T08:16:51.014" v="13300" actId="14100"/>
          <ac:picMkLst>
            <pc:docMk/>
            <pc:sldMk cId="3803048978" sldId="344"/>
            <ac:picMk id="4" creationId="{1DCE949F-107C-51F9-5418-280705F56C95}"/>
          </ac:picMkLst>
        </pc:picChg>
        <pc:picChg chg="add del mod">
          <ac:chgData name="Everts, Susanne (Allianz Kunde und Markt)" userId="e35a5471-d092-49fe-8ba2-1b95fa53cb5e" providerId="ADAL" clId="{999F90E3-0FC2-4A9A-B99A-6B60E2E05E2E}" dt="2024-04-18T12:45:59.121" v="6370" actId="478"/>
          <ac:picMkLst>
            <pc:docMk/>
            <pc:sldMk cId="3803048978" sldId="344"/>
            <ac:picMk id="6" creationId="{62F49753-FDFB-C134-5DF0-19CCF18493EB}"/>
          </ac:picMkLst>
        </pc:picChg>
        <pc:picChg chg="add del">
          <ac:chgData name="Everts, Susanne (Allianz Kunde und Markt)" userId="e35a5471-d092-49fe-8ba2-1b95fa53cb5e" providerId="ADAL" clId="{999F90E3-0FC2-4A9A-B99A-6B60E2E05E2E}" dt="2024-04-26T08:16:10.228" v="13288" actId="478"/>
          <ac:picMkLst>
            <pc:docMk/>
            <pc:sldMk cId="3803048978" sldId="344"/>
            <ac:picMk id="8" creationId="{8BDDF7A8-2416-B9EF-0E0D-BD29247ED21B}"/>
          </ac:picMkLst>
        </pc:picChg>
        <pc:cxnChg chg="mod ord">
          <ac:chgData name="Everts, Susanne (Allianz Kunde und Markt)" userId="e35a5471-d092-49fe-8ba2-1b95fa53cb5e" providerId="ADAL" clId="{999F90E3-0FC2-4A9A-B99A-6B60E2E05E2E}" dt="2024-04-26T08:18:59.349" v="13505" actId="14100"/>
          <ac:cxnSpMkLst>
            <pc:docMk/>
            <pc:sldMk cId="3803048978" sldId="344"/>
            <ac:cxnSpMk id="23" creationId="{00000000-0000-0000-0000-000000000000}"/>
          </ac:cxnSpMkLst>
        </pc:cxnChg>
        <pc:cxnChg chg="mod">
          <ac:chgData name="Everts, Susanne (Allianz Kunde und Markt)" userId="e35a5471-d092-49fe-8ba2-1b95fa53cb5e" providerId="ADAL" clId="{999F90E3-0FC2-4A9A-B99A-6B60E2E05E2E}" dt="2024-04-26T08:17:36.933" v="13373" actId="1076"/>
          <ac:cxnSpMkLst>
            <pc:docMk/>
            <pc:sldMk cId="3803048978" sldId="344"/>
            <ac:cxnSpMk id="26" creationId="{00000000-0000-0000-0000-000000000000}"/>
          </ac:cxnSpMkLst>
        </pc:cxnChg>
        <pc:cxnChg chg="mod">
          <ac:chgData name="Everts, Susanne (Allianz Kunde und Markt)" userId="e35a5471-d092-49fe-8ba2-1b95fa53cb5e" providerId="ADAL" clId="{999F90E3-0FC2-4A9A-B99A-6B60E2E05E2E}" dt="2024-04-26T08:16:55.754" v="13302" actId="14100"/>
          <ac:cxnSpMkLst>
            <pc:docMk/>
            <pc:sldMk cId="3803048978" sldId="344"/>
            <ac:cxnSpMk id="30" creationId="{00000000-0000-0000-0000-000000000000}"/>
          </ac:cxnSpMkLst>
        </pc:cxnChg>
        <pc:cxnChg chg="mod">
          <ac:chgData name="Everts, Susanne (Allianz Kunde und Markt)" userId="e35a5471-d092-49fe-8ba2-1b95fa53cb5e" providerId="ADAL" clId="{999F90E3-0FC2-4A9A-B99A-6B60E2E05E2E}" dt="2024-04-26T08:18:46.591" v="13500" actId="14100"/>
          <ac:cxnSpMkLst>
            <pc:docMk/>
            <pc:sldMk cId="3803048978" sldId="344"/>
            <ac:cxnSpMk id="34" creationId="{00000000-0000-0000-0000-000000000000}"/>
          </ac:cxnSpMkLst>
        </pc:cxnChg>
        <pc:cxnChg chg="del mod">
          <ac:chgData name="Everts, Susanne (Allianz Kunde und Markt)" userId="e35a5471-d092-49fe-8ba2-1b95fa53cb5e" providerId="ADAL" clId="{999F90E3-0FC2-4A9A-B99A-6B60E2E05E2E}" dt="2024-04-26T08:19:02.872" v="13507" actId="478"/>
          <ac:cxnSpMkLst>
            <pc:docMk/>
            <pc:sldMk cId="3803048978" sldId="344"/>
            <ac:cxnSpMk id="36" creationId="{00000000-0000-0000-0000-000000000000}"/>
          </ac:cxnSpMkLst>
        </pc:cxnChg>
      </pc:sldChg>
      <pc:sldChg chg="addSp modSp mod">
        <pc:chgData name="Everts, Susanne (Allianz Kunde und Markt)" userId="e35a5471-d092-49fe-8ba2-1b95fa53cb5e" providerId="ADAL" clId="{999F90E3-0FC2-4A9A-B99A-6B60E2E05E2E}" dt="2024-04-26T08:20:25.465" v="13582" actId="1076"/>
        <pc:sldMkLst>
          <pc:docMk/>
          <pc:sldMk cId="2514620217" sldId="345"/>
        </pc:sldMkLst>
        <pc:spChg chg="add mod">
          <ac:chgData name="Everts, Susanne (Allianz Kunde und Markt)" userId="e35a5471-d092-49fe-8ba2-1b95fa53cb5e" providerId="ADAL" clId="{999F90E3-0FC2-4A9A-B99A-6B60E2E05E2E}" dt="2024-04-26T08:20:25.465" v="13582" actId="1076"/>
          <ac:spMkLst>
            <pc:docMk/>
            <pc:sldMk cId="2514620217" sldId="345"/>
            <ac:spMk id="4" creationId="{B7B29D4A-649D-30AC-36D1-0A2CEB9072D4}"/>
          </ac:spMkLst>
        </pc:spChg>
        <pc:spChg chg="mod">
          <ac:chgData name="Everts, Susanne (Allianz Kunde und Markt)" userId="e35a5471-d092-49fe-8ba2-1b95fa53cb5e" providerId="ADAL" clId="{999F90E3-0FC2-4A9A-B99A-6B60E2E05E2E}" dt="2024-04-25T07:18:33.524" v="7697" actId="14100"/>
          <ac:spMkLst>
            <pc:docMk/>
            <pc:sldMk cId="2514620217" sldId="345"/>
            <ac:spMk id="19" creationId="{1E85E34B-22E1-42B6-94A7-0885707F4F6B}"/>
          </ac:spMkLst>
        </pc:spChg>
      </pc:sldChg>
      <pc:sldChg chg="modSp mod">
        <pc:chgData name="Everts, Susanne (Allianz Kunde und Markt)" userId="e35a5471-d092-49fe-8ba2-1b95fa53cb5e" providerId="ADAL" clId="{999F90E3-0FC2-4A9A-B99A-6B60E2E05E2E}" dt="2024-04-25T07:18:41.305" v="7699" actId="14100"/>
        <pc:sldMkLst>
          <pc:docMk/>
          <pc:sldMk cId="2144398700" sldId="346"/>
        </pc:sldMkLst>
        <pc:spChg chg="mod">
          <ac:chgData name="Everts, Susanne (Allianz Kunde und Markt)" userId="e35a5471-d092-49fe-8ba2-1b95fa53cb5e" providerId="ADAL" clId="{999F90E3-0FC2-4A9A-B99A-6B60E2E05E2E}" dt="2024-04-25T07:18:41.305" v="7699" actId="14100"/>
          <ac:spMkLst>
            <pc:docMk/>
            <pc:sldMk cId="2144398700" sldId="346"/>
            <ac:spMk id="24" creationId="{1E85E34B-22E1-42B6-94A7-0885707F4F6B}"/>
          </ac:spMkLst>
        </pc:spChg>
      </pc:sldChg>
      <pc:sldChg chg="modSp mod">
        <pc:chgData name="Everts, Susanne (Allianz Kunde und Markt)" userId="e35a5471-d092-49fe-8ba2-1b95fa53cb5e" providerId="ADAL" clId="{999F90E3-0FC2-4A9A-B99A-6B60E2E05E2E}" dt="2024-04-25T07:18:49.839" v="7701" actId="14100"/>
        <pc:sldMkLst>
          <pc:docMk/>
          <pc:sldMk cId="3884706127" sldId="347"/>
        </pc:sldMkLst>
        <pc:spChg chg="mod">
          <ac:chgData name="Everts, Susanne (Allianz Kunde und Markt)" userId="e35a5471-d092-49fe-8ba2-1b95fa53cb5e" providerId="ADAL" clId="{999F90E3-0FC2-4A9A-B99A-6B60E2E05E2E}" dt="2024-04-25T07:18:49.839" v="7701" actId="14100"/>
          <ac:spMkLst>
            <pc:docMk/>
            <pc:sldMk cId="3884706127" sldId="347"/>
            <ac:spMk id="20" creationId="{1E85E34B-22E1-42B6-94A7-0885707F4F6B}"/>
          </ac:spMkLst>
        </pc:spChg>
      </pc:sldChg>
      <pc:sldChg chg="addSp delSp modSp mod">
        <pc:chgData name="Everts, Susanne (Allianz Kunde und Markt)" userId="e35a5471-d092-49fe-8ba2-1b95fa53cb5e" providerId="ADAL" clId="{999F90E3-0FC2-4A9A-B99A-6B60E2E05E2E}" dt="2024-04-26T08:44:24.413" v="14574" actId="120"/>
        <pc:sldMkLst>
          <pc:docMk/>
          <pc:sldMk cId="4125062011" sldId="350"/>
        </pc:sldMkLst>
        <pc:spChg chg="mod">
          <ac:chgData name="Everts, Susanne (Allianz Kunde und Markt)" userId="e35a5471-d092-49fe-8ba2-1b95fa53cb5e" providerId="ADAL" clId="{999F90E3-0FC2-4A9A-B99A-6B60E2E05E2E}" dt="2024-04-18T10:59:59.767" v="3913" actId="20577"/>
          <ac:spMkLst>
            <pc:docMk/>
            <pc:sldMk cId="4125062011" sldId="350"/>
            <ac:spMk id="2" creationId="{00000000-0000-0000-0000-000000000000}"/>
          </ac:spMkLst>
        </pc:spChg>
        <pc:spChg chg="add del mod">
          <ac:chgData name="Everts, Susanne (Allianz Kunde und Markt)" userId="e35a5471-d092-49fe-8ba2-1b95fa53cb5e" providerId="ADAL" clId="{999F90E3-0FC2-4A9A-B99A-6B60E2E05E2E}" dt="2024-04-25T10:22:15.500" v="9553" actId="478"/>
          <ac:spMkLst>
            <pc:docMk/>
            <pc:sldMk cId="4125062011" sldId="350"/>
            <ac:spMk id="3" creationId="{654D9065-9B6B-1EF4-0284-B4AAC366562A}"/>
          </ac:spMkLst>
        </pc:spChg>
        <pc:spChg chg="mod">
          <ac:chgData name="Everts, Susanne (Allianz Kunde und Markt)" userId="e35a5471-d092-49fe-8ba2-1b95fa53cb5e" providerId="ADAL" clId="{999F90E3-0FC2-4A9A-B99A-6B60E2E05E2E}" dt="2024-04-25T10:26:49.171" v="10066" actId="20577"/>
          <ac:spMkLst>
            <pc:docMk/>
            <pc:sldMk cId="4125062011" sldId="350"/>
            <ac:spMk id="4" creationId="{00000000-0000-0000-0000-000000000000}"/>
          </ac:spMkLst>
        </pc:spChg>
        <pc:spChg chg="add mod">
          <ac:chgData name="Everts, Susanne (Allianz Kunde und Markt)" userId="e35a5471-d092-49fe-8ba2-1b95fa53cb5e" providerId="ADAL" clId="{999F90E3-0FC2-4A9A-B99A-6B60E2E05E2E}" dt="2024-04-26T08:28:28.521" v="13650" actId="1076"/>
          <ac:spMkLst>
            <pc:docMk/>
            <pc:sldMk cId="4125062011" sldId="350"/>
            <ac:spMk id="11" creationId="{467E5FBB-F785-190C-7502-8DD13594D3FE}"/>
          </ac:spMkLst>
        </pc:spChg>
        <pc:spChg chg="mod ord">
          <ac:chgData name="Everts, Susanne (Allianz Kunde und Markt)" userId="e35a5471-d092-49fe-8ba2-1b95fa53cb5e" providerId="ADAL" clId="{999F90E3-0FC2-4A9A-B99A-6B60E2E05E2E}" dt="2024-04-26T08:27:26.511" v="13614" actId="167"/>
          <ac:spMkLst>
            <pc:docMk/>
            <pc:sldMk cId="4125062011" sldId="350"/>
            <ac:spMk id="13" creationId="{EFFF893A-2C8B-524C-B0F6-C4201F08DE9A}"/>
          </ac:spMkLst>
        </pc:spChg>
        <pc:spChg chg="mod">
          <ac:chgData name="Everts, Susanne (Allianz Kunde und Markt)" userId="e35a5471-d092-49fe-8ba2-1b95fa53cb5e" providerId="ADAL" clId="{999F90E3-0FC2-4A9A-B99A-6B60E2E05E2E}" dt="2024-04-26T08:44:16.482" v="14571" actId="1076"/>
          <ac:spMkLst>
            <pc:docMk/>
            <pc:sldMk cId="4125062011" sldId="350"/>
            <ac:spMk id="17" creationId="{C79BBB7C-5CDB-AB45-816B-88FC00B85060}"/>
          </ac:spMkLst>
        </pc:spChg>
        <pc:spChg chg="mod">
          <ac:chgData name="Everts, Susanne (Allianz Kunde und Markt)" userId="e35a5471-d092-49fe-8ba2-1b95fa53cb5e" providerId="ADAL" clId="{999F90E3-0FC2-4A9A-B99A-6B60E2E05E2E}" dt="2024-04-26T08:44:13.705" v="14570" actId="121"/>
          <ac:spMkLst>
            <pc:docMk/>
            <pc:sldMk cId="4125062011" sldId="350"/>
            <ac:spMk id="20" creationId="{00000000-0000-0000-0000-000000000000}"/>
          </ac:spMkLst>
        </pc:spChg>
        <pc:spChg chg="mod">
          <ac:chgData name="Everts, Susanne (Allianz Kunde und Markt)" userId="e35a5471-d092-49fe-8ba2-1b95fa53cb5e" providerId="ADAL" clId="{999F90E3-0FC2-4A9A-B99A-6B60E2E05E2E}" dt="2024-04-26T08:44:24.413" v="14574" actId="120"/>
          <ac:spMkLst>
            <pc:docMk/>
            <pc:sldMk cId="4125062011" sldId="350"/>
            <ac:spMk id="21" creationId="{C79BBB7C-5CDB-AB45-816B-88FC00B85060}"/>
          </ac:spMkLst>
        </pc:spChg>
        <pc:spChg chg="mod">
          <ac:chgData name="Everts, Susanne (Allianz Kunde und Markt)" userId="e35a5471-d092-49fe-8ba2-1b95fa53cb5e" providerId="ADAL" clId="{999F90E3-0FC2-4A9A-B99A-6B60E2E05E2E}" dt="2024-04-25T07:17:32.577" v="7673" actId="14100"/>
          <ac:spMkLst>
            <pc:docMk/>
            <pc:sldMk cId="4125062011" sldId="350"/>
            <ac:spMk id="24" creationId="{1E85E34B-22E1-42B6-94A7-0885707F4F6B}"/>
          </ac:spMkLst>
        </pc:spChg>
        <pc:spChg chg="mod">
          <ac:chgData name="Everts, Susanne (Allianz Kunde und Markt)" userId="e35a5471-d092-49fe-8ba2-1b95fa53cb5e" providerId="ADAL" clId="{999F90E3-0FC2-4A9A-B99A-6B60E2E05E2E}" dt="2024-04-26T08:44:22.006" v="14573" actId="1076"/>
          <ac:spMkLst>
            <pc:docMk/>
            <pc:sldMk cId="4125062011" sldId="350"/>
            <ac:spMk id="30" creationId="{00000000-0000-0000-0000-000000000000}"/>
          </ac:spMkLst>
        </pc:spChg>
        <pc:picChg chg="add mod ord">
          <ac:chgData name="Everts, Susanne (Allianz Kunde und Markt)" userId="e35a5471-d092-49fe-8ba2-1b95fa53cb5e" providerId="ADAL" clId="{999F90E3-0FC2-4A9A-B99A-6B60E2E05E2E}" dt="2024-04-26T08:27:51.531" v="13622" actId="1076"/>
          <ac:picMkLst>
            <pc:docMk/>
            <pc:sldMk cId="4125062011" sldId="350"/>
            <ac:picMk id="5" creationId="{9B6F5557-183F-F615-5B9E-FB59818DAD92}"/>
          </ac:picMkLst>
        </pc:picChg>
        <pc:picChg chg="add mod ord">
          <ac:chgData name="Everts, Susanne (Allianz Kunde und Markt)" userId="e35a5471-d092-49fe-8ba2-1b95fa53cb5e" providerId="ADAL" clId="{999F90E3-0FC2-4A9A-B99A-6B60E2E05E2E}" dt="2024-04-26T08:27:22.338" v="13612" actId="167"/>
          <ac:picMkLst>
            <pc:docMk/>
            <pc:sldMk cId="4125062011" sldId="350"/>
            <ac:picMk id="7" creationId="{E65FCBA7-57F9-C6A4-BBF3-7ED8C6E16108}"/>
          </ac:picMkLst>
        </pc:picChg>
        <pc:picChg chg="add mod ord">
          <ac:chgData name="Everts, Susanne (Allianz Kunde und Markt)" userId="e35a5471-d092-49fe-8ba2-1b95fa53cb5e" providerId="ADAL" clId="{999F90E3-0FC2-4A9A-B99A-6B60E2E05E2E}" dt="2024-04-26T08:27:24.527" v="13613" actId="167"/>
          <ac:picMkLst>
            <pc:docMk/>
            <pc:sldMk cId="4125062011" sldId="350"/>
            <ac:picMk id="10" creationId="{6C9C1807-0CFA-6ECF-0560-EEB1AAF7FC1F}"/>
          </ac:picMkLst>
        </pc:picChg>
        <pc:picChg chg="del mod">
          <ac:chgData name="Everts, Susanne (Allianz Kunde und Markt)" userId="e35a5471-d092-49fe-8ba2-1b95fa53cb5e" providerId="ADAL" clId="{999F90E3-0FC2-4A9A-B99A-6B60E2E05E2E}" dt="2024-04-26T07:28:52.058" v="11320" actId="478"/>
          <ac:picMkLst>
            <pc:docMk/>
            <pc:sldMk cId="4125062011" sldId="350"/>
            <ac:picMk id="16" creationId="{00000000-0000-0000-0000-000000000000}"/>
          </ac:picMkLst>
        </pc:picChg>
        <pc:cxnChg chg="mod">
          <ac:chgData name="Everts, Susanne (Allianz Kunde und Markt)" userId="e35a5471-d092-49fe-8ba2-1b95fa53cb5e" providerId="ADAL" clId="{999F90E3-0FC2-4A9A-B99A-6B60E2E05E2E}" dt="2024-04-26T08:27:39.479" v="13618" actId="14100"/>
          <ac:cxnSpMkLst>
            <pc:docMk/>
            <pc:sldMk cId="4125062011" sldId="350"/>
            <ac:cxnSpMk id="18" creationId="{00000000-0000-0000-0000-000000000000}"/>
          </ac:cxnSpMkLst>
        </pc:cxnChg>
        <pc:cxnChg chg="mod">
          <ac:chgData name="Everts, Susanne (Allianz Kunde und Markt)" userId="e35a5471-d092-49fe-8ba2-1b95fa53cb5e" providerId="ADAL" clId="{999F90E3-0FC2-4A9A-B99A-6B60E2E05E2E}" dt="2024-04-26T08:28:05.386" v="13626" actId="14100"/>
          <ac:cxnSpMkLst>
            <pc:docMk/>
            <pc:sldMk cId="4125062011" sldId="350"/>
            <ac:cxnSpMk id="22" creationId="{00000000-0000-0000-0000-000000000000}"/>
          </ac:cxnSpMkLst>
        </pc:cxnChg>
        <pc:cxnChg chg="mod">
          <ac:chgData name="Everts, Susanne (Allianz Kunde und Markt)" userId="e35a5471-d092-49fe-8ba2-1b95fa53cb5e" providerId="ADAL" clId="{999F90E3-0FC2-4A9A-B99A-6B60E2E05E2E}" dt="2024-04-26T08:27:56.084" v="13623" actId="14100"/>
          <ac:cxnSpMkLst>
            <pc:docMk/>
            <pc:sldMk cId="4125062011" sldId="350"/>
            <ac:cxnSpMk id="25" creationId="{00000000-0000-0000-0000-000000000000}"/>
          </ac:cxnSpMkLst>
        </pc:cxnChg>
        <pc:cxnChg chg="mod">
          <ac:chgData name="Everts, Susanne (Allianz Kunde und Markt)" userId="e35a5471-d092-49fe-8ba2-1b95fa53cb5e" providerId="ADAL" clId="{999F90E3-0FC2-4A9A-B99A-6B60E2E05E2E}" dt="2024-04-26T08:27:45.141" v="13619" actId="14100"/>
          <ac:cxnSpMkLst>
            <pc:docMk/>
            <pc:sldMk cId="4125062011" sldId="350"/>
            <ac:cxnSpMk id="29" creationId="{00000000-0000-0000-0000-000000000000}"/>
          </ac:cxnSpMkLst>
        </pc:cxnChg>
        <pc:cxnChg chg="mod">
          <ac:chgData name="Everts, Susanne (Allianz Kunde und Markt)" userId="e35a5471-d092-49fe-8ba2-1b95fa53cb5e" providerId="ADAL" clId="{999F90E3-0FC2-4A9A-B99A-6B60E2E05E2E}" dt="2024-04-26T08:26:57.386" v="13606" actId="1076"/>
          <ac:cxnSpMkLst>
            <pc:docMk/>
            <pc:sldMk cId="4125062011" sldId="350"/>
            <ac:cxnSpMk id="31" creationId="{00000000-0000-0000-0000-000000000000}"/>
          </ac:cxnSpMkLst>
        </pc:cxnChg>
      </pc:sldChg>
      <pc:sldChg chg="addSp delSp modSp mod ord">
        <pc:chgData name="Everts, Susanne (Allianz Kunde und Markt)" userId="e35a5471-d092-49fe-8ba2-1b95fa53cb5e" providerId="ADAL" clId="{999F90E3-0FC2-4A9A-B99A-6B60E2E05E2E}" dt="2024-04-26T08:36:51.862" v="14401" actId="20577"/>
        <pc:sldMkLst>
          <pc:docMk/>
          <pc:sldMk cId="2241849153" sldId="351"/>
        </pc:sldMkLst>
        <pc:spChg chg="mod">
          <ac:chgData name="Everts, Susanne (Allianz Kunde und Markt)" userId="e35a5471-d092-49fe-8ba2-1b95fa53cb5e" providerId="ADAL" clId="{999F90E3-0FC2-4A9A-B99A-6B60E2E05E2E}" dt="2024-04-18T11:00:15.500" v="3963" actId="20577"/>
          <ac:spMkLst>
            <pc:docMk/>
            <pc:sldMk cId="2241849153" sldId="351"/>
            <ac:spMk id="2" creationId="{00000000-0000-0000-0000-000000000000}"/>
          </ac:spMkLst>
        </pc:spChg>
        <pc:spChg chg="add del mod">
          <ac:chgData name="Everts, Susanne (Allianz Kunde und Markt)" userId="e35a5471-d092-49fe-8ba2-1b95fa53cb5e" providerId="ADAL" clId="{999F90E3-0FC2-4A9A-B99A-6B60E2E05E2E}" dt="2024-04-26T08:28:37.148" v="13652" actId="478"/>
          <ac:spMkLst>
            <pc:docMk/>
            <pc:sldMk cId="2241849153" sldId="351"/>
            <ac:spMk id="3" creationId="{0E585E24-92C7-D339-CB35-6049A84CBE8C}"/>
          </ac:spMkLst>
        </pc:spChg>
        <pc:spChg chg="mod">
          <ac:chgData name="Everts, Susanne (Allianz Kunde und Markt)" userId="e35a5471-d092-49fe-8ba2-1b95fa53cb5e" providerId="ADAL" clId="{999F90E3-0FC2-4A9A-B99A-6B60E2E05E2E}" dt="2024-04-26T08:36:51.862" v="14401" actId="20577"/>
          <ac:spMkLst>
            <pc:docMk/>
            <pc:sldMk cId="2241849153" sldId="351"/>
            <ac:spMk id="4" creationId="{00000000-0000-0000-0000-000000000000}"/>
          </ac:spMkLst>
        </pc:spChg>
        <pc:spChg chg="add mod">
          <ac:chgData name="Everts, Susanne (Allianz Kunde und Markt)" userId="e35a5471-d092-49fe-8ba2-1b95fa53cb5e" providerId="ADAL" clId="{999F90E3-0FC2-4A9A-B99A-6B60E2E05E2E}" dt="2024-04-26T08:32:24.367" v="13822" actId="1076"/>
          <ac:spMkLst>
            <pc:docMk/>
            <pc:sldMk cId="2241849153" sldId="351"/>
            <ac:spMk id="6" creationId="{F6F092F5-C9E2-2B64-3929-D59BFA9DF371}"/>
          </ac:spMkLst>
        </pc:spChg>
        <pc:spChg chg="mod">
          <ac:chgData name="Everts, Susanne (Allianz Kunde und Markt)" userId="e35a5471-d092-49fe-8ba2-1b95fa53cb5e" providerId="ADAL" clId="{999F90E3-0FC2-4A9A-B99A-6B60E2E05E2E}" dt="2024-04-26T08:34:41.881" v="14197" actId="1076"/>
          <ac:spMkLst>
            <pc:docMk/>
            <pc:sldMk cId="2241849153" sldId="351"/>
            <ac:spMk id="13" creationId="{EFFF893A-2C8B-524C-B0F6-C4201F08DE9A}"/>
          </ac:spMkLst>
        </pc:spChg>
        <pc:spChg chg="add mod ord">
          <ac:chgData name="Everts, Susanne (Allianz Kunde und Markt)" userId="e35a5471-d092-49fe-8ba2-1b95fa53cb5e" providerId="ADAL" clId="{999F90E3-0FC2-4A9A-B99A-6B60E2E05E2E}" dt="2024-04-26T08:33:01.466" v="13940" actId="20577"/>
          <ac:spMkLst>
            <pc:docMk/>
            <pc:sldMk cId="2241849153" sldId="351"/>
            <ac:spMk id="17" creationId="{5170A37A-9CD5-8095-7DCB-B86DAA78EFE5}"/>
          </ac:spMkLst>
        </pc:spChg>
        <pc:spChg chg="mod">
          <ac:chgData name="Everts, Susanne (Allianz Kunde und Markt)" userId="e35a5471-d092-49fe-8ba2-1b95fa53cb5e" providerId="ADAL" clId="{999F90E3-0FC2-4A9A-B99A-6B60E2E05E2E}" dt="2024-04-25T07:17:46.541" v="7679" actId="14100"/>
          <ac:spMkLst>
            <pc:docMk/>
            <pc:sldMk cId="2241849153" sldId="351"/>
            <ac:spMk id="24" creationId="{1E85E34B-22E1-42B6-94A7-0885707F4F6B}"/>
          </ac:spMkLst>
        </pc:spChg>
        <pc:picChg chg="del mod">
          <ac:chgData name="Everts, Susanne (Allianz Kunde und Markt)" userId="e35a5471-d092-49fe-8ba2-1b95fa53cb5e" providerId="ADAL" clId="{999F90E3-0FC2-4A9A-B99A-6B60E2E05E2E}" dt="2024-04-26T08:30:15.776" v="13704" actId="478"/>
          <ac:picMkLst>
            <pc:docMk/>
            <pc:sldMk cId="2241849153" sldId="351"/>
            <ac:picMk id="5" creationId="{00000000-0000-0000-0000-000000000000}"/>
          </ac:picMkLst>
        </pc:picChg>
        <pc:picChg chg="add mod">
          <ac:chgData name="Everts, Susanne (Allianz Kunde und Markt)" userId="e35a5471-d092-49fe-8ba2-1b95fa53cb5e" providerId="ADAL" clId="{999F90E3-0FC2-4A9A-B99A-6B60E2E05E2E}" dt="2024-04-26T08:32:12.276" v="13819" actId="1076"/>
          <ac:picMkLst>
            <pc:docMk/>
            <pc:sldMk cId="2241849153" sldId="351"/>
            <ac:picMk id="8" creationId="{B2CD8F53-3947-1CE5-AEC1-B57537C26569}"/>
          </ac:picMkLst>
        </pc:picChg>
        <pc:picChg chg="del mod">
          <ac:chgData name="Everts, Susanne (Allianz Kunde und Markt)" userId="e35a5471-d092-49fe-8ba2-1b95fa53cb5e" providerId="ADAL" clId="{999F90E3-0FC2-4A9A-B99A-6B60E2E05E2E}" dt="2024-04-26T08:30:16.257" v="13705" actId="478"/>
          <ac:picMkLst>
            <pc:docMk/>
            <pc:sldMk cId="2241849153" sldId="351"/>
            <ac:picMk id="10" creationId="{00000000-0000-0000-0000-000000000000}"/>
          </ac:picMkLst>
        </pc:picChg>
        <pc:picChg chg="del mod">
          <ac:chgData name="Everts, Susanne (Allianz Kunde und Markt)" userId="e35a5471-d092-49fe-8ba2-1b95fa53cb5e" providerId="ADAL" clId="{999F90E3-0FC2-4A9A-B99A-6B60E2E05E2E}" dt="2024-04-26T08:30:05.143" v="13697" actId="478"/>
          <ac:picMkLst>
            <pc:docMk/>
            <pc:sldMk cId="2241849153" sldId="351"/>
            <ac:picMk id="11" creationId="{00000000-0000-0000-0000-000000000000}"/>
          </ac:picMkLst>
        </pc:picChg>
        <pc:picChg chg="add mod ord">
          <ac:chgData name="Everts, Susanne (Allianz Kunde und Markt)" userId="e35a5471-d092-49fe-8ba2-1b95fa53cb5e" providerId="ADAL" clId="{999F90E3-0FC2-4A9A-B99A-6B60E2E05E2E}" dt="2024-04-26T08:32:09.353" v="13818" actId="14100"/>
          <ac:picMkLst>
            <pc:docMk/>
            <pc:sldMk cId="2241849153" sldId="351"/>
            <ac:picMk id="14" creationId="{E8276193-7A93-A261-9E9A-74527E06C9A7}"/>
          </ac:picMkLst>
        </pc:picChg>
        <pc:picChg chg="add mod">
          <ac:chgData name="Everts, Susanne (Allianz Kunde und Markt)" userId="e35a5471-d092-49fe-8ba2-1b95fa53cb5e" providerId="ADAL" clId="{999F90E3-0FC2-4A9A-B99A-6B60E2E05E2E}" dt="2024-04-26T08:32:09.353" v="13818" actId="14100"/>
          <ac:picMkLst>
            <pc:docMk/>
            <pc:sldMk cId="2241849153" sldId="351"/>
            <ac:picMk id="16" creationId="{2BA3C15E-1EB0-84AB-F41A-AF759C5DB3DC}"/>
          </ac:picMkLst>
        </pc:picChg>
      </pc:sldChg>
      <pc:sldChg chg="delSp modSp del mod">
        <pc:chgData name="Everts, Susanne (Allianz Kunde und Markt)" userId="e35a5471-d092-49fe-8ba2-1b95fa53cb5e" providerId="ADAL" clId="{999F90E3-0FC2-4A9A-B99A-6B60E2E05E2E}" dt="2024-04-18T12:22:03.318" v="6248" actId="47"/>
        <pc:sldMkLst>
          <pc:docMk/>
          <pc:sldMk cId="3830414583" sldId="352"/>
        </pc:sldMkLst>
        <pc:spChg chg="mod">
          <ac:chgData name="Everts, Susanne (Allianz Kunde und Markt)" userId="e35a5471-d092-49fe-8ba2-1b95fa53cb5e" providerId="ADAL" clId="{999F90E3-0FC2-4A9A-B99A-6B60E2E05E2E}" dt="2024-04-18T12:21:37.769" v="6240" actId="21"/>
          <ac:spMkLst>
            <pc:docMk/>
            <pc:sldMk cId="3830414583" sldId="352"/>
            <ac:spMk id="2"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6"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8"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9"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10"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11"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15"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16"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17"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18"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19"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20"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22"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23"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24"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25"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26"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38" creationId="{00000000-0000-0000-0000-000000000000}"/>
          </ac:spMkLst>
        </pc:spChg>
        <pc:spChg chg="mod">
          <ac:chgData name="Everts, Susanne (Allianz Kunde und Markt)" userId="e35a5471-d092-49fe-8ba2-1b95fa53cb5e" providerId="ADAL" clId="{999F90E3-0FC2-4A9A-B99A-6B60E2E05E2E}" dt="2024-04-18T12:18:37.541" v="5868" actId="1035"/>
          <ac:spMkLst>
            <pc:docMk/>
            <pc:sldMk cId="3830414583" sldId="352"/>
            <ac:spMk id="40" creationId="{00000000-0000-0000-0000-000000000000}"/>
          </ac:spMkLst>
        </pc:spChg>
        <pc:spChg chg="del mod">
          <ac:chgData name="Everts, Susanne (Allianz Kunde und Markt)" userId="e35a5471-d092-49fe-8ba2-1b95fa53cb5e" providerId="ADAL" clId="{999F90E3-0FC2-4A9A-B99A-6B60E2E05E2E}" dt="2024-04-18T12:21:59.243" v="6246" actId="21"/>
          <ac:spMkLst>
            <pc:docMk/>
            <pc:sldMk cId="3830414583" sldId="352"/>
            <ac:spMk id="46" creationId="{00000000-0000-0000-0000-000000000000}"/>
          </ac:spMkLst>
        </pc:spChg>
        <pc:grpChg chg="del mod">
          <ac:chgData name="Everts, Susanne (Allianz Kunde und Markt)" userId="e35a5471-d092-49fe-8ba2-1b95fa53cb5e" providerId="ADAL" clId="{999F90E3-0FC2-4A9A-B99A-6B60E2E05E2E}" dt="2024-04-18T12:21:59.243" v="6246" actId="21"/>
          <ac:grpSpMkLst>
            <pc:docMk/>
            <pc:sldMk cId="3830414583" sldId="352"/>
            <ac:grpSpMk id="27" creationId="{00000000-0000-0000-0000-000000000000}"/>
          </ac:grpSpMkLst>
        </pc:grpChg>
        <pc:grpChg chg="del mod">
          <ac:chgData name="Everts, Susanne (Allianz Kunde und Markt)" userId="e35a5471-d092-49fe-8ba2-1b95fa53cb5e" providerId="ADAL" clId="{999F90E3-0FC2-4A9A-B99A-6B60E2E05E2E}" dt="2024-04-18T12:21:59.243" v="6246" actId="21"/>
          <ac:grpSpMkLst>
            <pc:docMk/>
            <pc:sldMk cId="3830414583" sldId="352"/>
            <ac:grpSpMk id="41" creationId="{00000000-0000-0000-0000-000000000000}"/>
          </ac:grpSpMkLst>
        </pc:grpChg>
        <pc:picChg chg="del mod">
          <ac:chgData name="Everts, Susanne (Allianz Kunde und Markt)" userId="e35a5471-d092-49fe-8ba2-1b95fa53cb5e" providerId="ADAL" clId="{999F90E3-0FC2-4A9A-B99A-6B60E2E05E2E}" dt="2024-04-18T12:21:59.243" v="6246" actId="21"/>
          <ac:picMkLst>
            <pc:docMk/>
            <pc:sldMk cId="3830414583" sldId="352"/>
            <ac:picMk id="5" creationId="{00000000-0000-0000-0000-000000000000}"/>
          </ac:picMkLst>
        </pc:picChg>
      </pc:sldChg>
      <pc:sldChg chg="delSp del mod">
        <pc:chgData name="Everts, Susanne (Allianz Kunde und Markt)" userId="e35a5471-d092-49fe-8ba2-1b95fa53cb5e" providerId="ADAL" clId="{999F90E3-0FC2-4A9A-B99A-6B60E2E05E2E}" dt="2024-04-18T12:23:12.493" v="6302" actId="47"/>
        <pc:sldMkLst>
          <pc:docMk/>
          <pc:sldMk cId="3305867153" sldId="353"/>
        </pc:sldMkLst>
        <pc:spChg chg="del">
          <ac:chgData name="Everts, Susanne (Allianz Kunde und Markt)" userId="e35a5471-d092-49fe-8ba2-1b95fa53cb5e" providerId="ADAL" clId="{999F90E3-0FC2-4A9A-B99A-6B60E2E05E2E}" dt="2024-04-18T12:23:08.636" v="6300" actId="21"/>
          <ac:spMkLst>
            <pc:docMk/>
            <pc:sldMk cId="3305867153" sldId="353"/>
            <ac:spMk id="5" creationId="{00000000-0000-0000-0000-000000000000}"/>
          </ac:spMkLst>
        </pc:spChg>
        <pc:spChg chg="del">
          <ac:chgData name="Everts, Susanne (Allianz Kunde und Markt)" userId="e35a5471-d092-49fe-8ba2-1b95fa53cb5e" providerId="ADAL" clId="{999F90E3-0FC2-4A9A-B99A-6B60E2E05E2E}" dt="2024-04-18T12:23:08.636" v="6300" actId="21"/>
          <ac:spMkLst>
            <pc:docMk/>
            <pc:sldMk cId="3305867153" sldId="353"/>
            <ac:spMk id="12" creationId="{00000000-0000-0000-0000-000000000000}"/>
          </ac:spMkLst>
        </pc:spChg>
        <pc:spChg chg="del">
          <ac:chgData name="Everts, Susanne (Allianz Kunde und Markt)" userId="e35a5471-d092-49fe-8ba2-1b95fa53cb5e" providerId="ADAL" clId="{999F90E3-0FC2-4A9A-B99A-6B60E2E05E2E}" dt="2024-04-18T12:23:08.636" v="6300" actId="21"/>
          <ac:spMkLst>
            <pc:docMk/>
            <pc:sldMk cId="3305867153" sldId="353"/>
            <ac:spMk id="33" creationId="{00000000-0000-0000-0000-000000000000}"/>
          </ac:spMkLst>
        </pc:spChg>
        <pc:spChg chg="del">
          <ac:chgData name="Everts, Susanne (Allianz Kunde und Markt)" userId="e35a5471-d092-49fe-8ba2-1b95fa53cb5e" providerId="ADAL" clId="{999F90E3-0FC2-4A9A-B99A-6B60E2E05E2E}" dt="2024-04-18T12:23:08.636" v="6300" actId="21"/>
          <ac:spMkLst>
            <pc:docMk/>
            <pc:sldMk cId="3305867153" sldId="353"/>
            <ac:spMk id="39" creationId="{00000000-0000-0000-0000-000000000000}"/>
          </ac:spMkLst>
        </pc:spChg>
        <pc:spChg chg="del">
          <ac:chgData name="Everts, Susanne (Allianz Kunde und Markt)" userId="e35a5471-d092-49fe-8ba2-1b95fa53cb5e" providerId="ADAL" clId="{999F90E3-0FC2-4A9A-B99A-6B60E2E05E2E}" dt="2024-04-18T12:23:08.636" v="6300" actId="21"/>
          <ac:spMkLst>
            <pc:docMk/>
            <pc:sldMk cId="3305867153" sldId="353"/>
            <ac:spMk id="40" creationId="{00000000-0000-0000-0000-000000000000}"/>
          </ac:spMkLst>
        </pc:spChg>
        <pc:spChg chg="del">
          <ac:chgData name="Everts, Susanne (Allianz Kunde und Markt)" userId="e35a5471-d092-49fe-8ba2-1b95fa53cb5e" providerId="ADAL" clId="{999F90E3-0FC2-4A9A-B99A-6B60E2E05E2E}" dt="2024-04-18T12:23:08.636" v="6300" actId="21"/>
          <ac:spMkLst>
            <pc:docMk/>
            <pc:sldMk cId="3305867153" sldId="353"/>
            <ac:spMk id="41" creationId="{00000000-0000-0000-0000-000000000000}"/>
          </ac:spMkLst>
        </pc:spChg>
        <pc:spChg chg="del">
          <ac:chgData name="Everts, Susanne (Allianz Kunde und Markt)" userId="e35a5471-d092-49fe-8ba2-1b95fa53cb5e" providerId="ADAL" clId="{999F90E3-0FC2-4A9A-B99A-6B60E2E05E2E}" dt="2024-04-18T12:23:08.636" v="6300" actId="21"/>
          <ac:spMkLst>
            <pc:docMk/>
            <pc:sldMk cId="3305867153" sldId="353"/>
            <ac:spMk id="42" creationId="{00000000-0000-0000-0000-000000000000}"/>
          </ac:spMkLst>
        </pc:spChg>
        <pc:spChg chg="del">
          <ac:chgData name="Everts, Susanne (Allianz Kunde und Markt)" userId="e35a5471-d092-49fe-8ba2-1b95fa53cb5e" providerId="ADAL" clId="{999F90E3-0FC2-4A9A-B99A-6B60E2E05E2E}" dt="2024-04-18T12:23:08.636" v="6300" actId="21"/>
          <ac:spMkLst>
            <pc:docMk/>
            <pc:sldMk cId="3305867153" sldId="353"/>
            <ac:spMk id="48" creationId="{00000000-0000-0000-0000-000000000000}"/>
          </ac:spMkLst>
        </pc:spChg>
        <pc:picChg chg="del">
          <ac:chgData name="Everts, Susanne (Allianz Kunde und Markt)" userId="e35a5471-d092-49fe-8ba2-1b95fa53cb5e" providerId="ADAL" clId="{999F90E3-0FC2-4A9A-B99A-6B60E2E05E2E}" dt="2024-04-18T12:23:08.636" v="6300" actId="21"/>
          <ac:picMkLst>
            <pc:docMk/>
            <pc:sldMk cId="3305867153" sldId="353"/>
            <ac:picMk id="10" creationId="{00000000-0000-0000-0000-000000000000}"/>
          </ac:picMkLst>
        </pc:picChg>
        <pc:picChg chg="del">
          <ac:chgData name="Everts, Susanne (Allianz Kunde und Markt)" userId="e35a5471-d092-49fe-8ba2-1b95fa53cb5e" providerId="ADAL" clId="{999F90E3-0FC2-4A9A-B99A-6B60E2E05E2E}" dt="2024-04-18T12:23:08.636" v="6300" actId="21"/>
          <ac:picMkLst>
            <pc:docMk/>
            <pc:sldMk cId="3305867153" sldId="353"/>
            <ac:picMk id="11" creationId="{00000000-0000-0000-0000-000000000000}"/>
          </ac:picMkLst>
        </pc:picChg>
        <pc:cxnChg chg="del">
          <ac:chgData name="Everts, Susanne (Allianz Kunde und Markt)" userId="e35a5471-d092-49fe-8ba2-1b95fa53cb5e" providerId="ADAL" clId="{999F90E3-0FC2-4A9A-B99A-6B60E2E05E2E}" dt="2024-04-18T12:23:08.636" v="6300" actId="21"/>
          <ac:cxnSpMkLst>
            <pc:docMk/>
            <pc:sldMk cId="3305867153" sldId="353"/>
            <ac:cxnSpMk id="7" creationId="{00000000-0000-0000-0000-000000000000}"/>
          </ac:cxnSpMkLst>
        </pc:cxnChg>
      </pc:sldChg>
      <pc:sldChg chg="addSp delSp modSp mod ord">
        <pc:chgData name="Everts, Susanne (Allianz Kunde und Markt)" userId="e35a5471-d092-49fe-8ba2-1b95fa53cb5e" providerId="ADAL" clId="{999F90E3-0FC2-4A9A-B99A-6B60E2E05E2E}" dt="2024-04-26T08:35:45.007" v="14297" actId="1038"/>
        <pc:sldMkLst>
          <pc:docMk/>
          <pc:sldMk cId="433443105" sldId="354"/>
        </pc:sldMkLst>
        <pc:spChg chg="del">
          <ac:chgData name="Everts, Susanne (Allianz Kunde und Markt)" userId="e35a5471-d092-49fe-8ba2-1b95fa53cb5e" providerId="ADAL" clId="{999F90E3-0FC2-4A9A-B99A-6B60E2E05E2E}" dt="2024-04-18T08:22:18.191" v="49" actId="478"/>
          <ac:spMkLst>
            <pc:docMk/>
            <pc:sldMk cId="433443105" sldId="354"/>
            <ac:spMk id="2" creationId="{00000000-0000-0000-0000-000000000000}"/>
          </ac:spMkLst>
        </pc:spChg>
        <pc:spChg chg="add mod">
          <ac:chgData name="Everts, Susanne (Allianz Kunde und Markt)" userId="e35a5471-d092-49fe-8ba2-1b95fa53cb5e" providerId="ADAL" clId="{999F90E3-0FC2-4A9A-B99A-6B60E2E05E2E}" dt="2024-04-26T08:35:45.007" v="14297" actId="1038"/>
          <ac:spMkLst>
            <pc:docMk/>
            <pc:sldMk cId="433443105" sldId="354"/>
            <ac:spMk id="2" creationId="{9BC64828-E422-8A0F-8C5A-5F24AF6CC65F}"/>
          </ac:spMkLst>
        </pc:spChg>
        <pc:spChg chg="add del mod">
          <ac:chgData name="Everts, Susanne (Allianz Kunde und Markt)" userId="e35a5471-d092-49fe-8ba2-1b95fa53cb5e" providerId="ADAL" clId="{999F90E3-0FC2-4A9A-B99A-6B60E2E05E2E}" dt="2024-04-18T10:52:18.473" v="3602" actId="478"/>
          <ac:spMkLst>
            <pc:docMk/>
            <pc:sldMk cId="433443105" sldId="354"/>
            <ac:spMk id="3" creationId="{3E334E99-B4C8-50F2-FE50-636E799912C5}"/>
          </ac:spMkLst>
        </pc:spChg>
        <pc:spChg chg="add del mod">
          <ac:chgData name="Everts, Susanne (Allianz Kunde und Markt)" userId="e35a5471-d092-49fe-8ba2-1b95fa53cb5e" providerId="ADAL" clId="{999F90E3-0FC2-4A9A-B99A-6B60E2E05E2E}" dt="2024-04-18T09:28:03.549" v="2253" actId="478"/>
          <ac:spMkLst>
            <pc:docMk/>
            <pc:sldMk cId="433443105" sldId="354"/>
            <ac:spMk id="5" creationId="{9D93A733-CAC7-B7A9-79AA-C6FCD8FF2BEC}"/>
          </ac:spMkLst>
        </pc:spChg>
        <pc:spChg chg="add del mod">
          <ac:chgData name="Everts, Susanne (Allianz Kunde und Markt)" userId="e35a5471-d092-49fe-8ba2-1b95fa53cb5e" providerId="ADAL" clId="{999F90E3-0FC2-4A9A-B99A-6B60E2E05E2E}" dt="2024-04-18T09:28:03.549" v="2253" actId="478"/>
          <ac:spMkLst>
            <pc:docMk/>
            <pc:sldMk cId="433443105" sldId="354"/>
            <ac:spMk id="6" creationId="{ED1A1DF1-5B88-F256-DAF4-9CFFAB356671}"/>
          </ac:spMkLst>
        </pc:spChg>
        <pc:spChg chg="add del mod">
          <ac:chgData name="Everts, Susanne (Allianz Kunde und Markt)" userId="e35a5471-d092-49fe-8ba2-1b95fa53cb5e" providerId="ADAL" clId="{999F90E3-0FC2-4A9A-B99A-6B60E2E05E2E}" dt="2024-04-18T09:28:03.549" v="2253" actId="478"/>
          <ac:spMkLst>
            <pc:docMk/>
            <pc:sldMk cId="433443105" sldId="354"/>
            <ac:spMk id="7" creationId="{9D217CB8-6ED1-6437-1939-4F6E2153A58F}"/>
          </ac:spMkLst>
        </pc:spChg>
        <pc:spChg chg="del">
          <ac:chgData name="Everts, Susanne (Allianz Kunde und Markt)" userId="e35a5471-d092-49fe-8ba2-1b95fa53cb5e" providerId="ADAL" clId="{999F90E3-0FC2-4A9A-B99A-6B60E2E05E2E}" dt="2024-04-18T08:22:18.191" v="49" actId="478"/>
          <ac:spMkLst>
            <pc:docMk/>
            <pc:sldMk cId="433443105" sldId="354"/>
            <ac:spMk id="15" creationId="{00000000-0000-0000-0000-000000000000}"/>
          </ac:spMkLst>
        </pc:spChg>
        <pc:spChg chg="add mod">
          <ac:chgData name="Everts, Susanne (Allianz Kunde und Markt)" userId="e35a5471-d092-49fe-8ba2-1b95fa53cb5e" providerId="ADAL" clId="{999F90E3-0FC2-4A9A-B99A-6B60E2E05E2E}" dt="2024-04-26T08:35:21.524" v="14254" actId="1035"/>
          <ac:spMkLst>
            <pc:docMk/>
            <pc:sldMk cId="433443105" sldId="354"/>
            <ac:spMk id="16" creationId="{CBE74906-FD3F-8729-1AED-80BD0B46CE5C}"/>
          </ac:spMkLst>
        </pc:spChg>
        <pc:spChg chg="del">
          <ac:chgData name="Everts, Susanne (Allianz Kunde und Markt)" userId="e35a5471-d092-49fe-8ba2-1b95fa53cb5e" providerId="ADAL" clId="{999F90E3-0FC2-4A9A-B99A-6B60E2E05E2E}" dt="2024-04-18T08:22:18.191" v="49" actId="478"/>
          <ac:spMkLst>
            <pc:docMk/>
            <pc:sldMk cId="433443105" sldId="354"/>
            <ac:spMk id="17" creationId="{EFEA0999-7791-4F4B-8AB8-C15542F07BB4}"/>
          </ac:spMkLst>
        </pc:spChg>
        <pc:spChg chg="del">
          <ac:chgData name="Everts, Susanne (Allianz Kunde und Markt)" userId="e35a5471-d092-49fe-8ba2-1b95fa53cb5e" providerId="ADAL" clId="{999F90E3-0FC2-4A9A-B99A-6B60E2E05E2E}" dt="2024-04-18T08:22:18.191" v="49" actId="478"/>
          <ac:spMkLst>
            <pc:docMk/>
            <pc:sldMk cId="433443105" sldId="354"/>
            <ac:spMk id="18" creationId="{6BC3C4C2-ED2D-4A72-AD06-6FD31BDF215E}"/>
          </ac:spMkLst>
        </pc:spChg>
        <pc:spChg chg="add mod">
          <ac:chgData name="Everts, Susanne (Allianz Kunde und Markt)" userId="e35a5471-d092-49fe-8ba2-1b95fa53cb5e" providerId="ADAL" clId="{999F90E3-0FC2-4A9A-B99A-6B60E2E05E2E}" dt="2024-04-26T08:35:29.042" v="14270" actId="1035"/>
          <ac:spMkLst>
            <pc:docMk/>
            <pc:sldMk cId="433443105" sldId="354"/>
            <ac:spMk id="19" creationId="{11C6BF8D-5D39-9A15-A04E-C40FE83761C4}"/>
          </ac:spMkLst>
        </pc:spChg>
        <pc:spChg chg="add mod">
          <ac:chgData name="Everts, Susanne (Allianz Kunde und Markt)" userId="e35a5471-d092-49fe-8ba2-1b95fa53cb5e" providerId="ADAL" clId="{999F90E3-0FC2-4A9A-B99A-6B60E2E05E2E}" dt="2024-04-26T08:35:21.524" v="14254" actId="1035"/>
          <ac:spMkLst>
            <pc:docMk/>
            <pc:sldMk cId="433443105" sldId="354"/>
            <ac:spMk id="21" creationId="{776A7451-7A8A-6677-5F78-D5617F58B189}"/>
          </ac:spMkLst>
        </pc:spChg>
        <pc:spChg chg="mod">
          <ac:chgData name="Everts, Susanne (Allianz Kunde und Markt)" userId="e35a5471-d092-49fe-8ba2-1b95fa53cb5e" providerId="ADAL" clId="{999F90E3-0FC2-4A9A-B99A-6B60E2E05E2E}" dt="2024-04-18T08:23:08.290" v="50"/>
          <ac:spMkLst>
            <pc:docMk/>
            <pc:sldMk cId="433443105" sldId="354"/>
            <ac:spMk id="23" creationId="{9AD8A285-3B24-1738-85B2-29BB87ABA409}"/>
          </ac:spMkLst>
        </pc:spChg>
        <pc:spChg chg="mod">
          <ac:chgData name="Everts, Susanne (Allianz Kunde und Markt)" userId="e35a5471-d092-49fe-8ba2-1b95fa53cb5e" providerId="ADAL" clId="{999F90E3-0FC2-4A9A-B99A-6B60E2E05E2E}" dt="2024-04-25T07:17:20.149" v="7669" actId="14100"/>
          <ac:spMkLst>
            <pc:docMk/>
            <pc:sldMk cId="433443105" sldId="354"/>
            <ac:spMk id="24" creationId="{1E85E34B-22E1-42B6-94A7-0885707F4F6B}"/>
          </ac:spMkLst>
        </pc:spChg>
        <pc:spChg chg="mod">
          <ac:chgData name="Everts, Susanne (Allianz Kunde und Markt)" userId="e35a5471-d092-49fe-8ba2-1b95fa53cb5e" providerId="ADAL" clId="{999F90E3-0FC2-4A9A-B99A-6B60E2E05E2E}" dt="2024-04-18T08:23:08.290" v="50"/>
          <ac:spMkLst>
            <pc:docMk/>
            <pc:sldMk cId="433443105" sldId="354"/>
            <ac:spMk id="25" creationId="{887F3550-5B1A-2E9F-E93F-B4120B49EFAB}"/>
          </ac:spMkLst>
        </pc:spChg>
        <pc:spChg chg="mod">
          <ac:chgData name="Everts, Susanne (Allianz Kunde und Markt)" userId="e35a5471-d092-49fe-8ba2-1b95fa53cb5e" providerId="ADAL" clId="{999F90E3-0FC2-4A9A-B99A-6B60E2E05E2E}" dt="2024-04-18T08:23:08.290" v="50"/>
          <ac:spMkLst>
            <pc:docMk/>
            <pc:sldMk cId="433443105" sldId="354"/>
            <ac:spMk id="27" creationId="{A558A57C-F963-AE76-FD9B-5C8666874776}"/>
          </ac:spMkLst>
        </pc:spChg>
        <pc:spChg chg="mod">
          <ac:chgData name="Everts, Susanne (Allianz Kunde und Markt)" userId="e35a5471-d092-49fe-8ba2-1b95fa53cb5e" providerId="ADAL" clId="{999F90E3-0FC2-4A9A-B99A-6B60E2E05E2E}" dt="2024-04-18T08:23:08.290" v="50"/>
          <ac:spMkLst>
            <pc:docMk/>
            <pc:sldMk cId="433443105" sldId="354"/>
            <ac:spMk id="28" creationId="{9DB61891-2B7F-FBDA-8710-D2865D6EBAB7}"/>
          </ac:spMkLst>
        </pc:spChg>
        <pc:spChg chg="mod">
          <ac:chgData name="Everts, Susanne (Allianz Kunde und Markt)" userId="e35a5471-d092-49fe-8ba2-1b95fa53cb5e" providerId="ADAL" clId="{999F90E3-0FC2-4A9A-B99A-6B60E2E05E2E}" dt="2024-04-18T08:23:08.290" v="50"/>
          <ac:spMkLst>
            <pc:docMk/>
            <pc:sldMk cId="433443105" sldId="354"/>
            <ac:spMk id="29" creationId="{8E117814-5539-FF51-EA8A-59B81A657BE8}"/>
          </ac:spMkLst>
        </pc:spChg>
        <pc:spChg chg="mod">
          <ac:chgData name="Everts, Susanne (Allianz Kunde und Markt)" userId="e35a5471-d092-49fe-8ba2-1b95fa53cb5e" providerId="ADAL" clId="{999F90E3-0FC2-4A9A-B99A-6B60E2E05E2E}" dt="2024-04-18T08:23:08.290" v="50"/>
          <ac:spMkLst>
            <pc:docMk/>
            <pc:sldMk cId="433443105" sldId="354"/>
            <ac:spMk id="30" creationId="{6CB64A49-12C4-F095-4526-C72F522982AA}"/>
          </ac:spMkLst>
        </pc:spChg>
        <pc:spChg chg="mod">
          <ac:chgData name="Everts, Susanne (Allianz Kunde und Markt)" userId="e35a5471-d092-49fe-8ba2-1b95fa53cb5e" providerId="ADAL" clId="{999F90E3-0FC2-4A9A-B99A-6B60E2E05E2E}" dt="2024-04-18T08:23:08.290" v="50"/>
          <ac:spMkLst>
            <pc:docMk/>
            <pc:sldMk cId="433443105" sldId="354"/>
            <ac:spMk id="64" creationId="{EA3169B5-F670-1924-552C-EB2344A9211B}"/>
          </ac:spMkLst>
        </pc:spChg>
        <pc:spChg chg="mod">
          <ac:chgData name="Everts, Susanne (Allianz Kunde und Markt)" userId="e35a5471-d092-49fe-8ba2-1b95fa53cb5e" providerId="ADAL" clId="{999F90E3-0FC2-4A9A-B99A-6B60E2E05E2E}" dt="2024-04-18T08:23:08.290" v="50"/>
          <ac:spMkLst>
            <pc:docMk/>
            <pc:sldMk cId="433443105" sldId="354"/>
            <ac:spMk id="65" creationId="{4591A2B9-DBD3-FC59-A2B9-31977DA545A6}"/>
          </ac:spMkLst>
        </pc:spChg>
        <pc:spChg chg="mod">
          <ac:chgData name="Everts, Susanne (Allianz Kunde und Markt)" userId="e35a5471-d092-49fe-8ba2-1b95fa53cb5e" providerId="ADAL" clId="{999F90E3-0FC2-4A9A-B99A-6B60E2E05E2E}" dt="2024-04-18T08:23:08.290" v="50"/>
          <ac:spMkLst>
            <pc:docMk/>
            <pc:sldMk cId="433443105" sldId="354"/>
            <ac:spMk id="67" creationId="{DC384A20-B981-BD80-0104-2F2C1141DFE1}"/>
          </ac:spMkLst>
        </pc:spChg>
        <pc:spChg chg="mod">
          <ac:chgData name="Everts, Susanne (Allianz Kunde und Markt)" userId="e35a5471-d092-49fe-8ba2-1b95fa53cb5e" providerId="ADAL" clId="{999F90E3-0FC2-4A9A-B99A-6B60E2E05E2E}" dt="2024-04-18T08:23:08.290" v="50"/>
          <ac:spMkLst>
            <pc:docMk/>
            <pc:sldMk cId="433443105" sldId="354"/>
            <ac:spMk id="68" creationId="{B9F6FCF9-B235-2FDD-70EE-ED61B6388499}"/>
          </ac:spMkLst>
        </pc:spChg>
        <pc:spChg chg="mod">
          <ac:chgData name="Everts, Susanne (Allianz Kunde und Markt)" userId="e35a5471-d092-49fe-8ba2-1b95fa53cb5e" providerId="ADAL" clId="{999F90E3-0FC2-4A9A-B99A-6B60E2E05E2E}" dt="2024-04-18T08:23:08.290" v="50"/>
          <ac:spMkLst>
            <pc:docMk/>
            <pc:sldMk cId="433443105" sldId="354"/>
            <ac:spMk id="70" creationId="{2A75505E-9B74-E587-6C5D-81C2C63B3D6D}"/>
          </ac:spMkLst>
        </pc:spChg>
        <pc:spChg chg="mod">
          <ac:chgData name="Everts, Susanne (Allianz Kunde und Markt)" userId="e35a5471-d092-49fe-8ba2-1b95fa53cb5e" providerId="ADAL" clId="{999F90E3-0FC2-4A9A-B99A-6B60E2E05E2E}" dt="2024-04-18T08:23:08.290" v="50"/>
          <ac:spMkLst>
            <pc:docMk/>
            <pc:sldMk cId="433443105" sldId="354"/>
            <ac:spMk id="71" creationId="{595297CA-7B2F-33D2-2610-EDA1D177A24B}"/>
          </ac:spMkLst>
        </pc:spChg>
        <pc:spChg chg="mod">
          <ac:chgData name="Everts, Susanne (Allianz Kunde und Markt)" userId="e35a5471-d092-49fe-8ba2-1b95fa53cb5e" providerId="ADAL" clId="{999F90E3-0FC2-4A9A-B99A-6B60E2E05E2E}" dt="2024-04-18T08:23:08.290" v="50"/>
          <ac:spMkLst>
            <pc:docMk/>
            <pc:sldMk cId="433443105" sldId="354"/>
            <ac:spMk id="72" creationId="{6BBD3685-03E1-AA36-8E00-4FD137407AAB}"/>
          </ac:spMkLst>
        </pc:spChg>
        <pc:spChg chg="mod">
          <ac:chgData name="Everts, Susanne (Allianz Kunde und Markt)" userId="e35a5471-d092-49fe-8ba2-1b95fa53cb5e" providerId="ADAL" clId="{999F90E3-0FC2-4A9A-B99A-6B60E2E05E2E}" dt="2024-04-18T08:23:08.290" v="50"/>
          <ac:spMkLst>
            <pc:docMk/>
            <pc:sldMk cId="433443105" sldId="354"/>
            <ac:spMk id="73" creationId="{D104E340-37F6-9BFE-E34E-959C90F109E3}"/>
          </ac:spMkLst>
        </pc:spChg>
        <pc:spChg chg="mod">
          <ac:chgData name="Everts, Susanne (Allianz Kunde und Markt)" userId="e35a5471-d092-49fe-8ba2-1b95fa53cb5e" providerId="ADAL" clId="{999F90E3-0FC2-4A9A-B99A-6B60E2E05E2E}" dt="2024-04-18T08:23:08.290" v="50"/>
          <ac:spMkLst>
            <pc:docMk/>
            <pc:sldMk cId="433443105" sldId="354"/>
            <ac:spMk id="74" creationId="{25822C61-BC03-FC83-685A-C8FDAA58C51E}"/>
          </ac:spMkLst>
        </pc:spChg>
        <pc:spChg chg="mod">
          <ac:chgData name="Everts, Susanne (Allianz Kunde und Markt)" userId="e35a5471-d092-49fe-8ba2-1b95fa53cb5e" providerId="ADAL" clId="{999F90E3-0FC2-4A9A-B99A-6B60E2E05E2E}" dt="2024-04-18T08:23:08.290" v="50"/>
          <ac:spMkLst>
            <pc:docMk/>
            <pc:sldMk cId="433443105" sldId="354"/>
            <ac:spMk id="75" creationId="{6E710455-ABAC-A984-5834-FCD43CBE31AC}"/>
          </ac:spMkLst>
        </pc:spChg>
        <pc:spChg chg="del">
          <ac:chgData name="Everts, Susanne (Allianz Kunde und Markt)" userId="e35a5471-d092-49fe-8ba2-1b95fa53cb5e" providerId="ADAL" clId="{999F90E3-0FC2-4A9A-B99A-6B60E2E05E2E}" dt="2024-04-18T08:22:18.191" v="49" actId="478"/>
          <ac:spMkLst>
            <pc:docMk/>
            <pc:sldMk cId="433443105" sldId="354"/>
            <ac:spMk id="76" creationId="{6BC3C4C2-ED2D-4A72-AD06-6FD31BDF215E}"/>
          </ac:spMkLst>
        </pc:spChg>
        <pc:spChg chg="mod">
          <ac:chgData name="Everts, Susanne (Allianz Kunde und Markt)" userId="e35a5471-d092-49fe-8ba2-1b95fa53cb5e" providerId="ADAL" clId="{999F90E3-0FC2-4A9A-B99A-6B60E2E05E2E}" dt="2024-04-18T08:23:08.290" v="50"/>
          <ac:spMkLst>
            <pc:docMk/>
            <pc:sldMk cId="433443105" sldId="354"/>
            <ac:spMk id="77" creationId="{DD4709FA-75C8-627D-AE79-69AEE3103216}"/>
          </ac:spMkLst>
        </pc:spChg>
        <pc:spChg chg="del">
          <ac:chgData name="Everts, Susanne (Allianz Kunde und Markt)" userId="e35a5471-d092-49fe-8ba2-1b95fa53cb5e" providerId="ADAL" clId="{999F90E3-0FC2-4A9A-B99A-6B60E2E05E2E}" dt="2024-04-18T08:22:18.191" v="49" actId="478"/>
          <ac:spMkLst>
            <pc:docMk/>
            <pc:sldMk cId="433443105" sldId="354"/>
            <ac:spMk id="78" creationId="{EFEA0999-7791-4F4B-8AB8-C15542F07BB4}"/>
          </ac:spMkLst>
        </pc:spChg>
        <pc:spChg chg="mod">
          <ac:chgData name="Everts, Susanne (Allianz Kunde und Markt)" userId="e35a5471-d092-49fe-8ba2-1b95fa53cb5e" providerId="ADAL" clId="{999F90E3-0FC2-4A9A-B99A-6B60E2E05E2E}" dt="2024-04-18T08:23:08.290" v="50"/>
          <ac:spMkLst>
            <pc:docMk/>
            <pc:sldMk cId="433443105" sldId="354"/>
            <ac:spMk id="79" creationId="{92A34599-AABC-F01E-66AD-F56F11E8D8CD}"/>
          </ac:spMkLst>
        </pc:spChg>
        <pc:spChg chg="mod">
          <ac:chgData name="Everts, Susanne (Allianz Kunde und Markt)" userId="e35a5471-d092-49fe-8ba2-1b95fa53cb5e" providerId="ADAL" clId="{999F90E3-0FC2-4A9A-B99A-6B60E2E05E2E}" dt="2024-04-18T08:23:08.290" v="50"/>
          <ac:spMkLst>
            <pc:docMk/>
            <pc:sldMk cId="433443105" sldId="354"/>
            <ac:spMk id="80" creationId="{4122EFE4-7BD7-2855-BED7-43C9EFB65D2B}"/>
          </ac:spMkLst>
        </pc:spChg>
        <pc:spChg chg="mod">
          <ac:chgData name="Everts, Susanne (Allianz Kunde und Markt)" userId="e35a5471-d092-49fe-8ba2-1b95fa53cb5e" providerId="ADAL" clId="{999F90E3-0FC2-4A9A-B99A-6B60E2E05E2E}" dt="2024-04-18T08:23:08.290" v="50"/>
          <ac:spMkLst>
            <pc:docMk/>
            <pc:sldMk cId="433443105" sldId="354"/>
            <ac:spMk id="82" creationId="{4F642C9E-FA74-89DA-D961-C712615CB493}"/>
          </ac:spMkLst>
        </pc:spChg>
        <pc:spChg chg="mod">
          <ac:chgData name="Everts, Susanne (Allianz Kunde und Markt)" userId="e35a5471-d092-49fe-8ba2-1b95fa53cb5e" providerId="ADAL" clId="{999F90E3-0FC2-4A9A-B99A-6B60E2E05E2E}" dt="2024-04-18T08:23:08.290" v="50"/>
          <ac:spMkLst>
            <pc:docMk/>
            <pc:sldMk cId="433443105" sldId="354"/>
            <ac:spMk id="84" creationId="{B3597EA6-C96F-E222-01FB-9141D10B681E}"/>
          </ac:spMkLst>
        </pc:spChg>
        <pc:spChg chg="mod">
          <ac:chgData name="Everts, Susanne (Allianz Kunde und Markt)" userId="e35a5471-d092-49fe-8ba2-1b95fa53cb5e" providerId="ADAL" clId="{999F90E3-0FC2-4A9A-B99A-6B60E2E05E2E}" dt="2024-04-18T08:23:08.290" v="50"/>
          <ac:spMkLst>
            <pc:docMk/>
            <pc:sldMk cId="433443105" sldId="354"/>
            <ac:spMk id="85" creationId="{1CD1DA9A-63F5-A6BB-17D1-1CB6F9B47CAE}"/>
          </ac:spMkLst>
        </pc:spChg>
        <pc:spChg chg="mod">
          <ac:chgData name="Everts, Susanne (Allianz Kunde und Markt)" userId="e35a5471-d092-49fe-8ba2-1b95fa53cb5e" providerId="ADAL" clId="{999F90E3-0FC2-4A9A-B99A-6B60E2E05E2E}" dt="2024-04-18T08:23:08.290" v="50"/>
          <ac:spMkLst>
            <pc:docMk/>
            <pc:sldMk cId="433443105" sldId="354"/>
            <ac:spMk id="86" creationId="{0B84A0BA-D5BE-025A-FEE4-D824AE7D30BE}"/>
          </ac:spMkLst>
        </pc:spChg>
        <pc:spChg chg="del">
          <ac:chgData name="Everts, Susanne (Allianz Kunde und Markt)" userId="e35a5471-d092-49fe-8ba2-1b95fa53cb5e" providerId="ADAL" clId="{999F90E3-0FC2-4A9A-B99A-6B60E2E05E2E}" dt="2024-04-18T08:22:18.191" v="49" actId="478"/>
          <ac:spMkLst>
            <pc:docMk/>
            <pc:sldMk cId="433443105" sldId="354"/>
            <ac:spMk id="98" creationId="{63874A8D-9D65-4C6B-843E-EB1735669411}"/>
          </ac:spMkLst>
        </pc:spChg>
        <pc:spChg chg="mod">
          <ac:chgData name="Everts, Susanne (Allianz Kunde und Markt)" userId="e35a5471-d092-49fe-8ba2-1b95fa53cb5e" providerId="ADAL" clId="{999F90E3-0FC2-4A9A-B99A-6B60E2E05E2E}" dt="2024-04-18T08:23:08.290" v="50"/>
          <ac:spMkLst>
            <pc:docMk/>
            <pc:sldMk cId="433443105" sldId="354"/>
            <ac:spMk id="105" creationId="{4653D6CE-92F8-9042-061A-58C0253D2022}"/>
          </ac:spMkLst>
        </pc:spChg>
        <pc:spChg chg="mod">
          <ac:chgData name="Everts, Susanne (Allianz Kunde und Markt)" userId="e35a5471-d092-49fe-8ba2-1b95fa53cb5e" providerId="ADAL" clId="{999F90E3-0FC2-4A9A-B99A-6B60E2E05E2E}" dt="2024-04-18T08:23:08.290" v="50"/>
          <ac:spMkLst>
            <pc:docMk/>
            <pc:sldMk cId="433443105" sldId="354"/>
            <ac:spMk id="106" creationId="{61C9376C-E28B-4817-61AB-7ABF9F7A4AC2}"/>
          </ac:spMkLst>
        </pc:spChg>
        <pc:spChg chg="add mod">
          <ac:chgData name="Everts, Susanne (Allianz Kunde und Markt)" userId="e35a5471-d092-49fe-8ba2-1b95fa53cb5e" providerId="ADAL" clId="{999F90E3-0FC2-4A9A-B99A-6B60E2E05E2E}" dt="2024-04-26T08:35:29.042" v="14270" actId="1035"/>
          <ac:spMkLst>
            <pc:docMk/>
            <pc:sldMk cId="433443105" sldId="354"/>
            <ac:spMk id="107" creationId="{99DCD131-CA70-CCDD-400C-94C5144322AD}"/>
          </ac:spMkLst>
        </pc:spChg>
        <pc:spChg chg="mod">
          <ac:chgData name="Everts, Susanne (Allianz Kunde und Markt)" userId="e35a5471-d092-49fe-8ba2-1b95fa53cb5e" providerId="ADAL" clId="{999F90E3-0FC2-4A9A-B99A-6B60E2E05E2E}" dt="2024-04-18T10:52:51.732" v="3666"/>
          <ac:spMkLst>
            <pc:docMk/>
            <pc:sldMk cId="433443105" sldId="354"/>
            <ac:spMk id="109" creationId="{0C6384D6-2536-B431-D964-654D1CAAEDC5}"/>
          </ac:spMkLst>
        </pc:spChg>
        <pc:spChg chg="mod">
          <ac:chgData name="Everts, Susanne (Allianz Kunde und Markt)" userId="e35a5471-d092-49fe-8ba2-1b95fa53cb5e" providerId="ADAL" clId="{999F90E3-0FC2-4A9A-B99A-6B60E2E05E2E}" dt="2024-04-18T10:52:51.732" v="3666"/>
          <ac:spMkLst>
            <pc:docMk/>
            <pc:sldMk cId="433443105" sldId="354"/>
            <ac:spMk id="110" creationId="{90CF5D4B-8C64-12A2-CCBE-7C3260B16C5F}"/>
          </ac:spMkLst>
        </pc:spChg>
        <pc:spChg chg="add del mod">
          <ac:chgData name="Everts, Susanne (Allianz Kunde und Markt)" userId="e35a5471-d092-49fe-8ba2-1b95fa53cb5e" providerId="ADAL" clId="{999F90E3-0FC2-4A9A-B99A-6B60E2E05E2E}" dt="2024-04-18T10:53:13.212" v="3687" actId="478"/>
          <ac:spMkLst>
            <pc:docMk/>
            <pc:sldMk cId="433443105" sldId="354"/>
            <ac:spMk id="111" creationId="{22D5BA5E-86F2-59AB-15A4-DA555F7608A6}"/>
          </ac:spMkLst>
        </pc:spChg>
        <pc:spChg chg="add del mod ord">
          <ac:chgData name="Everts, Susanne (Allianz Kunde und Markt)" userId="e35a5471-d092-49fe-8ba2-1b95fa53cb5e" providerId="ADAL" clId="{999F90E3-0FC2-4A9A-B99A-6B60E2E05E2E}" dt="2024-04-18T10:59:18.178" v="3874" actId="478"/>
          <ac:spMkLst>
            <pc:docMk/>
            <pc:sldMk cId="433443105" sldId="354"/>
            <ac:spMk id="113" creationId="{00BF0E15-07CF-80FD-D507-C38CD368FCAA}"/>
          </ac:spMkLst>
        </pc:spChg>
        <pc:spChg chg="mod">
          <ac:chgData name="Everts, Susanne (Allianz Kunde und Markt)" userId="e35a5471-d092-49fe-8ba2-1b95fa53cb5e" providerId="ADAL" clId="{999F90E3-0FC2-4A9A-B99A-6B60E2E05E2E}" dt="2024-04-18T08:23:35.805" v="98" actId="20577"/>
          <ac:spMkLst>
            <pc:docMk/>
            <pc:sldMk cId="433443105" sldId="354"/>
            <ac:spMk id="115" creationId="{00000000-0000-0000-0000-000000000000}"/>
          </ac:spMkLst>
        </pc:spChg>
        <pc:spChg chg="mod">
          <ac:chgData name="Everts, Susanne (Allianz Kunde und Markt)" userId="e35a5471-d092-49fe-8ba2-1b95fa53cb5e" providerId="ADAL" clId="{999F90E3-0FC2-4A9A-B99A-6B60E2E05E2E}" dt="2024-04-18T10:55:09.292" v="3836"/>
          <ac:spMkLst>
            <pc:docMk/>
            <pc:sldMk cId="433443105" sldId="354"/>
            <ac:spMk id="116" creationId="{022A88C1-DDD9-5890-35A5-C9EBC6CD9221}"/>
          </ac:spMkLst>
        </pc:spChg>
        <pc:spChg chg="mod">
          <ac:chgData name="Everts, Susanne (Allianz Kunde und Markt)" userId="e35a5471-d092-49fe-8ba2-1b95fa53cb5e" providerId="ADAL" clId="{999F90E3-0FC2-4A9A-B99A-6B60E2E05E2E}" dt="2024-04-18T10:55:09.292" v="3836"/>
          <ac:spMkLst>
            <pc:docMk/>
            <pc:sldMk cId="433443105" sldId="354"/>
            <ac:spMk id="117" creationId="{AB717161-0EB2-D8D3-C50D-E2CBF35A6638}"/>
          </ac:spMkLst>
        </pc:spChg>
        <pc:spChg chg="mod">
          <ac:chgData name="Everts, Susanne (Allianz Kunde und Markt)" userId="e35a5471-d092-49fe-8ba2-1b95fa53cb5e" providerId="ADAL" clId="{999F90E3-0FC2-4A9A-B99A-6B60E2E05E2E}" dt="2024-04-18T10:55:09.292" v="3836"/>
          <ac:spMkLst>
            <pc:docMk/>
            <pc:sldMk cId="433443105" sldId="354"/>
            <ac:spMk id="118" creationId="{F43F8B7E-419E-5F3B-A7E4-FAC490D4B5B0}"/>
          </ac:spMkLst>
        </pc:spChg>
        <pc:spChg chg="add mod">
          <ac:chgData name="Everts, Susanne (Allianz Kunde und Markt)" userId="e35a5471-d092-49fe-8ba2-1b95fa53cb5e" providerId="ADAL" clId="{999F90E3-0FC2-4A9A-B99A-6B60E2E05E2E}" dt="2024-04-25T07:01:41.896" v="7300" actId="1076"/>
          <ac:spMkLst>
            <pc:docMk/>
            <pc:sldMk cId="433443105" sldId="354"/>
            <ac:spMk id="119" creationId="{74E1C11C-07B9-C496-1536-1E4A44706BB3}"/>
          </ac:spMkLst>
        </pc:spChg>
        <pc:grpChg chg="add mod">
          <ac:chgData name="Everts, Susanne (Allianz Kunde und Markt)" userId="e35a5471-d092-49fe-8ba2-1b95fa53cb5e" providerId="ADAL" clId="{999F90E3-0FC2-4A9A-B99A-6B60E2E05E2E}" dt="2024-04-26T08:35:21.524" v="14254" actId="1035"/>
          <ac:grpSpMkLst>
            <pc:docMk/>
            <pc:sldMk cId="433443105" sldId="354"/>
            <ac:grpSpMk id="22" creationId="{11FAEBEC-A5D0-BE8B-96A9-A06E049E7777}"/>
          </ac:grpSpMkLst>
        </pc:grpChg>
        <pc:grpChg chg="add mod">
          <ac:chgData name="Everts, Susanne (Allianz Kunde und Markt)" userId="e35a5471-d092-49fe-8ba2-1b95fa53cb5e" providerId="ADAL" clId="{999F90E3-0FC2-4A9A-B99A-6B60E2E05E2E}" dt="2024-04-26T08:35:21.524" v="14254" actId="1035"/>
          <ac:grpSpMkLst>
            <pc:docMk/>
            <pc:sldMk cId="433443105" sldId="354"/>
            <ac:grpSpMk id="26" creationId="{B26F311A-1607-1CAE-FBAF-CF36DF5CCEFA}"/>
          </ac:grpSpMkLst>
        </pc:grpChg>
        <pc:grpChg chg="add del mod">
          <ac:chgData name="Everts, Susanne (Allianz Kunde und Markt)" userId="e35a5471-d092-49fe-8ba2-1b95fa53cb5e" providerId="ADAL" clId="{999F90E3-0FC2-4A9A-B99A-6B60E2E05E2E}" dt="2024-04-18T10:49:57.692" v="3486" actId="478"/>
          <ac:grpSpMkLst>
            <pc:docMk/>
            <pc:sldMk cId="433443105" sldId="354"/>
            <ac:grpSpMk id="66" creationId="{75D63715-B0C0-868B-2CCB-2C066FE8C85E}"/>
          </ac:grpSpMkLst>
        </pc:grpChg>
        <pc:grpChg chg="add del mod">
          <ac:chgData name="Everts, Susanne (Allianz Kunde und Markt)" userId="e35a5471-d092-49fe-8ba2-1b95fa53cb5e" providerId="ADAL" clId="{999F90E3-0FC2-4A9A-B99A-6B60E2E05E2E}" dt="2024-04-18T10:51:07.776" v="3537" actId="478"/>
          <ac:grpSpMkLst>
            <pc:docMk/>
            <pc:sldMk cId="433443105" sldId="354"/>
            <ac:grpSpMk id="69" creationId="{8DA284A8-BD2E-D049-43DA-66C8A0DC6A9F}"/>
          </ac:grpSpMkLst>
        </pc:grpChg>
        <pc:grpChg chg="add mod">
          <ac:chgData name="Everts, Susanne (Allianz Kunde und Markt)" userId="e35a5471-d092-49fe-8ba2-1b95fa53cb5e" providerId="ADAL" clId="{999F90E3-0FC2-4A9A-B99A-6B60E2E05E2E}" dt="2024-04-26T08:35:29.042" v="14270" actId="1035"/>
          <ac:grpSpMkLst>
            <pc:docMk/>
            <pc:sldMk cId="433443105" sldId="354"/>
            <ac:grpSpMk id="83" creationId="{D8FBC01D-0542-0662-AAEB-6BF18D7FD5B6}"/>
          </ac:grpSpMkLst>
        </pc:grpChg>
        <pc:grpChg chg="add del mod">
          <ac:chgData name="Everts, Susanne (Allianz Kunde und Markt)" userId="e35a5471-d092-49fe-8ba2-1b95fa53cb5e" providerId="ADAL" clId="{999F90E3-0FC2-4A9A-B99A-6B60E2E05E2E}" dt="2024-04-26T08:35:29.042" v="14270" actId="1035"/>
          <ac:grpSpMkLst>
            <pc:docMk/>
            <pc:sldMk cId="433443105" sldId="354"/>
            <ac:grpSpMk id="104" creationId="{9FF9CE94-DCC9-D768-D5F6-36CB62B25370}"/>
          </ac:grpSpMkLst>
        </pc:grpChg>
        <pc:grpChg chg="add del mod">
          <ac:chgData name="Everts, Susanne (Allianz Kunde und Markt)" userId="e35a5471-d092-49fe-8ba2-1b95fa53cb5e" providerId="ADAL" clId="{999F90E3-0FC2-4A9A-B99A-6B60E2E05E2E}" dt="2024-04-18T10:53:13.212" v="3687" actId="478"/>
          <ac:grpSpMkLst>
            <pc:docMk/>
            <pc:sldMk cId="433443105" sldId="354"/>
            <ac:grpSpMk id="108" creationId="{1A7CD0B3-244E-9D52-595E-15FC98AD7CF6}"/>
          </ac:grpSpMkLst>
        </pc:grpChg>
        <pc:grpChg chg="add del mod">
          <ac:chgData name="Everts, Susanne (Allianz Kunde und Markt)" userId="e35a5471-d092-49fe-8ba2-1b95fa53cb5e" providerId="ADAL" clId="{999F90E3-0FC2-4A9A-B99A-6B60E2E05E2E}" dt="2024-04-18T10:55:26.050" v="3843"/>
          <ac:grpSpMkLst>
            <pc:docMk/>
            <pc:sldMk cId="433443105" sldId="354"/>
            <ac:grpSpMk id="114" creationId="{F959962A-4A85-2D2F-89F0-6A57E8261AA8}"/>
          </ac:grpSpMkLst>
        </pc:grpChg>
        <pc:picChg chg="add del mod">
          <ac:chgData name="Everts, Susanne (Allianz Kunde und Markt)" userId="e35a5471-d092-49fe-8ba2-1b95fa53cb5e" providerId="ADAL" clId="{999F90E3-0FC2-4A9A-B99A-6B60E2E05E2E}" dt="2024-04-18T10:52:18.820" v="3603" actId="478"/>
          <ac:picMkLst>
            <pc:docMk/>
            <pc:sldMk cId="433443105" sldId="354"/>
            <ac:picMk id="4" creationId="{2E6DD57E-91D8-5553-FF7C-98E2FC16F123}"/>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8" creationId="{4DEE38E4-ADA9-C661-D83B-EE7BB2E7CFD6}"/>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10" creationId="{BC53E6C5-A3F1-E621-9CAD-19ADBB399AE8}"/>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11" creationId="{792D5BDF-6B8F-A9B6-C308-87823A8AFC57}"/>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12" creationId="{CCC4EC47-E8B6-56E9-3ED1-545AC474CE29}"/>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13" creationId="{D2A66758-98D1-0E5B-928E-3FCC549565F0}"/>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14" creationId="{83A8C966-3D72-7A5A-AAB0-EDDBE1D6B352}"/>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87" creationId="{0DBB430B-D48C-5857-1864-18A5F5C69266}"/>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88" creationId="{8CBC1C08-6B26-EB64-8D72-77B592F38269}"/>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89" creationId="{7CB01D89-9DE8-75A4-D365-75FF26020EF1}"/>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90" creationId="{E8BAF104-67E8-40B6-93AA-F6A8962F0AA7}"/>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91" creationId="{7EB59DD5-AF4B-257F-33C5-762B6C328789}"/>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92" creationId="{92217CED-92C6-D1A7-5ADA-D64380BC7749}"/>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93" creationId="{5F66DD55-8616-A433-5FA3-4246729E5C2A}"/>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94" creationId="{162A0C0C-A03A-8DE7-D37A-82DE63E9A67C}"/>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95" creationId="{9A7CB695-009D-75D6-DBA8-3C69969A1F59}"/>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96" creationId="{052DD718-2D80-8C9F-C689-49AB57436BF7}"/>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100" creationId="{932CDA2D-0ABE-2020-80FE-E6F4239FF4D1}"/>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101" creationId="{8A7ABF9B-8489-D3F5-A159-794E78546D6E}"/>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102" creationId="{13657405-CF6D-335E-11F6-065AFEE922C3}"/>
          </ac:picMkLst>
        </pc:picChg>
        <pc:picChg chg="add del mod">
          <ac:chgData name="Everts, Susanne (Allianz Kunde und Markt)" userId="e35a5471-d092-49fe-8ba2-1b95fa53cb5e" providerId="ADAL" clId="{999F90E3-0FC2-4A9A-B99A-6B60E2E05E2E}" dt="2024-04-18T09:28:03.549" v="2253" actId="478"/>
          <ac:picMkLst>
            <pc:docMk/>
            <pc:sldMk cId="433443105" sldId="354"/>
            <ac:picMk id="103" creationId="{B296E20A-C539-B89A-E0A9-DE9ED6375605}"/>
          </ac:picMkLst>
        </pc:picChg>
        <pc:cxnChg chg="add mod">
          <ac:chgData name="Everts, Susanne (Allianz Kunde und Markt)" userId="e35a5471-d092-49fe-8ba2-1b95fa53cb5e" providerId="ADAL" clId="{999F90E3-0FC2-4A9A-B99A-6B60E2E05E2E}" dt="2024-04-25T07:00:47.104" v="7292" actId="14100"/>
          <ac:cxnSpMkLst>
            <pc:docMk/>
            <pc:sldMk cId="433443105" sldId="354"/>
            <ac:cxnSpMk id="20" creationId="{2D190901-2A0B-9C2A-386F-7D570A165268}"/>
          </ac:cxnSpMkLst>
        </pc:cxnChg>
        <pc:cxnChg chg="del">
          <ac:chgData name="Everts, Susanne (Allianz Kunde und Markt)" userId="e35a5471-d092-49fe-8ba2-1b95fa53cb5e" providerId="ADAL" clId="{999F90E3-0FC2-4A9A-B99A-6B60E2E05E2E}" dt="2024-04-18T08:22:18.191" v="49" actId="478"/>
          <ac:cxnSpMkLst>
            <pc:docMk/>
            <pc:sldMk cId="433443105" sldId="354"/>
            <ac:cxnSpMk id="81" creationId="{E7640863-8014-404E-A750-1C6D1E5FAA21}"/>
          </ac:cxnSpMkLst>
        </pc:cxnChg>
        <pc:cxnChg chg="add del mod">
          <ac:chgData name="Everts, Susanne (Allianz Kunde und Markt)" userId="e35a5471-d092-49fe-8ba2-1b95fa53cb5e" providerId="ADAL" clId="{999F90E3-0FC2-4A9A-B99A-6B60E2E05E2E}" dt="2024-04-18T09:28:03.549" v="2253" actId="478"/>
          <ac:cxnSpMkLst>
            <pc:docMk/>
            <pc:sldMk cId="433443105" sldId="354"/>
            <ac:cxnSpMk id="97" creationId="{D6A738CB-8B55-95DD-3CAD-390B1992E11C}"/>
          </ac:cxnSpMkLst>
        </pc:cxnChg>
        <pc:cxnChg chg="add del mod">
          <ac:chgData name="Everts, Susanne (Allianz Kunde und Markt)" userId="e35a5471-d092-49fe-8ba2-1b95fa53cb5e" providerId="ADAL" clId="{999F90E3-0FC2-4A9A-B99A-6B60E2E05E2E}" dt="2024-04-18T09:28:03.549" v="2253" actId="478"/>
          <ac:cxnSpMkLst>
            <pc:docMk/>
            <pc:sldMk cId="433443105" sldId="354"/>
            <ac:cxnSpMk id="99" creationId="{9592D453-A45F-5A94-832D-1AC1DABF960F}"/>
          </ac:cxnSpMkLst>
        </pc:cxnChg>
        <pc:cxnChg chg="del">
          <ac:chgData name="Everts, Susanne (Allianz Kunde und Markt)" userId="e35a5471-d092-49fe-8ba2-1b95fa53cb5e" providerId="ADAL" clId="{999F90E3-0FC2-4A9A-B99A-6B60E2E05E2E}" dt="2024-04-18T08:22:18.191" v="49" actId="478"/>
          <ac:cxnSpMkLst>
            <pc:docMk/>
            <pc:sldMk cId="433443105" sldId="354"/>
            <ac:cxnSpMk id="112" creationId="{00000000-0000-0000-0000-000000000000}"/>
          </ac:cxnSpMkLst>
        </pc:cxnChg>
      </pc:sldChg>
      <pc:sldChg chg="modSp mod">
        <pc:chgData name="Everts, Susanne (Allianz Kunde und Markt)" userId="e35a5471-d092-49fe-8ba2-1b95fa53cb5e" providerId="ADAL" clId="{999F90E3-0FC2-4A9A-B99A-6B60E2E05E2E}" dt="2024-04-25T07:18:04.833" v="7685" actId="14100"/>
        <pc:sldMkLst>
          <pc:docMk/>
          <pc:sldMk cId="3710801663" sldId="398"/>
        </pc:sldMkLst>
        <pc:spChg chg="mod">
          <ac:chgData name="Everts, Susanne (Allianz Kunde und Markt)" userId="e35a5471-d092-49fe-8ba2-1b95fa53cb5e" providerId="ADAL" clId="{999F90E3-0FC2-4A9A-B99A-6B60E2E05E2E}" dt="2024-04-25T07:18:04.833" v="7685" actId="14100"/>
          <ac:spMkLst>
            <pc:docMk/>
            <pc:sldMk cId="3710801663" sldId="398"/>
            <ac:spMk id="68" creationId="{1E85E34B-22E1-42B6-94A7-0885707F4F6B}"/>
          </ac:spMkLst>
        </pc:spChg>
      </pc:sldChg>
      <pc:sldChg chg="add del">
        <pc:chgData name="Everts, Susanne (Allianz Kunde und Markt)" userId="e35a5471-d092-49fe-8ba2-1b95fa53cb5e" providerId="ADAL" clId="{999F90E3-0FC2-4A9A-B99A-6B60E2E05E2E}" dt="2024-04-18T08:24:09.620" v="144" actId="47"/>
        <pc:sldMkLst>
          <pc:docMk/>
          <pc:sldMk cId="3983192170" sldId="2147483604"/>
        </pc:sldMkLst>
      </pc:sldChg>
      <pc:sldChg chg="addSp delSp modSp add mod">
        <pc:chgData name="Everts, Susanne (Allianz Kunde und Markt)" userId="e35a5471-d092-49fe-8ba2-1b95fa53cb5e" providerId="ADAL" clId="{999F90E3-0FC2-4A9A-B99A-6B60E2E05E2E}" dt="2024-04-26T07:26:48.153" v="11145" actId="20577"/>
        <pc:sldMkLst>
          <pc:docMk/>
          <pc:sldMk cId="1401358157" sldId="2147483605"/>
        </pc:sldMkLst>
        <pc:spChg chg="mod">
          <ac:chgData name="Everts, Susanne (Allianz Kunde und Markt)" userId="e35a5471-d092-49fe-8ba2-1b95fa53cb5e" providerId="ADAL" clId="{999F90E3-0FC2-4A9A-B99A-6B60E2E05E2E}" dt="2024-04-25T09:43:37.863" v="9424" actId="20577"/>
          <ac:spMkLst>
            <pc:docMk/>
            <pc:sldMk cId="1401358157" sldId="2147483605"/>
            <ac:spMk id="2" creationId="{00000000-0000-0000-0000-000000000000}"/>
          </ac:spMkLst>
        </pc:spChg>
        <pc:spChg chg="add mod">
          <ac:chgData name="Everts, Susanne (Allianz Kunde und Markt)" userId="e35a5471-d092-49fe-8ba2-1b95fa53cb5e" providerId="ADAL" clId="{999F90E3-0FC2-4A9A-B99A-6B60E2E05E2E}" dt="2024-04-25T09:40:12.730" v="9361" actId="552"/>
          <ac:spMkLst>
            <pc:docMk/>
            <pc:sldMk cId="1401358157" sldId="2147483605"/>
            <ac:spMk id="3" creationId="{38591874-5773-2F5B-294E-CB63BC14B109}"/>
          </ac:spMkLst>
        </pc:spChg>
        <pc:spChg chg="add mod">
          <ac:chgData name="Everts, Susanne (Allianz Kunde und Markt)" userId="e35a5471-d092-49fe-8ba2-1b95fa53cb5e" providerId="ADAL" clId="{999F90E3-0FC2-4A9A-B99A-6B60E2E05E2E}" dt="2024-04-26T07:26:34.240" v="11133" actId="20577"/>
          <ac:spMkLst>
            <pc:docMk/>
            <pc:sldMk cId="1401358157" sldId="2147483605"/>
            <ac:spMk id="4" creationId="{399E6C7F-003C-E7DB-41EA-C4F39E9F4757}"/>
          </ac:spMkLst>
        </pc:spChg>
        <pc:spChg chg="add del">
          <ac:chgData name="Everts, Susanne (Allianz Kunde und Markt)" userId="e35a5471-d092-49fe-8ba2-1b95fa53cb5e" providerId="ADAL" clId="{999F90E3-0FC2-4A9A-B99A-6B60E2E05E2E}" dt="2024-04-25T08:35:18.731" v="8797" actId="22"/>
          <ac:spMkLst>
            <pc:docMk/>
            <pc:sldMk cId="1401358157" sldId="2147483605"/>
            <ac:spMk id="8" creationId="{60D66C1B-E329-39C3-F6CA-D885678590DC}"/>
          </ac:spMkLst>
        </pc:spChg>
        <pc:spChg chg="add del mod">
          <ac:chgData name="Everts, Susanne (Allianz Kunde und Markt)" userId="e35a5471-d092-49fe-8ba2-1b95fa53cb5e" providerId="ADAL" clId="{999F90E3-0FC2-4A9A-B99A-6B60E2E05E2E}" dt="2024-04-25T08:35:22.322" v="8800" actId="478"/>
          <ac:spMkLst>
            <pc:docMk/>
            <pc:sldMk cId="1401358157" sldId="2147483605"/>
            <ac:spMk id="11" creationId="{C6F418B8-559F-2A43-C8D4-8B9B3AB6EC3F}"/>
          </ac:spMkLst>
        </pc:spChg>
        <pc:spChg chg="add mod">
          <ac:chgData name="Everts, Susanne (Allianz Kunde und Markt)" userId="e35a5471-d092-49fe-8ba2-1b95fa53cb5e" providerId="ADAL" clId="{999F90E3-0FC2-4A9A-B99A-6B60E2E05E2E}" dt="2024-04-26T07:26:18.276" v="11105" actId="20577"/>
          <ac:spMkLst>
            <pc:docMk/>
            <pc:sldMk cId="1401358157" sldId="2147483605"/>
            <ac:spMk id="12" creationId="{CED220EE-0716-C301-8995-50B88463AC5F}"/>
          </ac:spMkLst>
        </pc:spChg>
        <pc:spChg chg="add mod">
          <ac:chgData name="Everts, Susanne (Allianz Kunde und Markt)" userId="e35a5471-d092-49fe-8ba2-1b95fa53cb5e" providerId="ADAL" clId="{999F90E3-0FC2-4A9A-B99A-6B60E2E05E2E}" dt="2024-04-25T09:39:25.678" v="9328" actId="1035"/>
          <ac:spMkLst>
            <pc:docMk/>
            <pc:sldMk cId="1401358157" sldId="2147483605"/>
            <ac:spMk id="13" creationId="{B321902D-4157-BE4B-FA9A-4BB4AC4EB3E8}"/>
          </ac:spMkLst>
        </pc:spChg>
        <pc:spChg chg="add mod">
          <ac:chgData name="Everts, Susanne (Allianz Kunde und Markt)" userId="e35a5471-d092-49fe-8ba2-1b95fa53cb5e" providerId="ADAL" clId="{999F90E3-0FC2-4A9A-B99A-6B60E2E05E2E}" dt="2024-04-25T09:39:25.678" v="9328" actId="1035"/>
          <ac:spMkLst>
            <pc:docMk/>
            <pc:sldMk cId="1401358157" sldId="2147483605"/>
            <ac:spMk id="14" creationId="{C5E03B4F-948E-D9E0-3F90-93DCA5D0EF67}"/>
          </ac:spMkLst>
        </pc:spChg>
        <pc:spChg chg="mod">
          <ac:chgData name="Everts, Susanne (Allianz Kunde und Markt)" userId="e35a5471-d092-49fe-8ba2-1b95fa53cb5e" providerId="ADAL" clId="{999F90E3-0FC2-4A9A-B99A-6B60E2E05E2E}" dt="2024-04-25T09:43:46.166" v="9460" actId="6549"/>
          <ac:spMkLst>
            <pc:docMk/>
            <pc:sldMk cId="1401358157" sldId="2147483605"/>
            <ac:spMk id="15" creationId="{00000000-0000-0000-0000-000000000000}"/>
          </ac:spMkLst>
        </pc:spChg>
        <pc:spChg chg="add mod">
          <ac:chgData name="Everts, Susanne (Allianz Kunde und Markt)" userId="e35a5471-d092-49fe-8ba2-1b95fa53cb5e" providerId="ADAL" clId="{999F90E3-0FC2-4A9A-B99A-6B60E2E05E2E}" dt="2024-04-26T07:26:48.153" v="11145" actId="20577"/>
          <ac:spMkLst>
            <pc:docMk/>
            <pc:sldMk cId="1401358157" sldId="2147483605"/>
            <ac:spMk id="16" creationId="{899D72F9-821C-8B33-030E-7BA4CC9C3808}"/>
          </ac:spMkLst>
        </pc:spChg>
        <pc:spChg chg="mod">
          <ac:chgData name="Everts, Susanne (Allianz Kunde und Markt)" userId="e35a5471-d092-49fe-8ba2-1b95fa53cb5e" providerId="ADAL" clId="{999F90E3-0FC2-4A9A-B99A-6B60E2E05E2E}" dt="2024-04-25T09:40:24.835" v="9371" actId="1038"/>
          <ac:spMkLst>
            <pc:docMk/>
            <pc:sldMk cId="1401358157" sldId="2147483605"/>
            <ac:spMk id="17" creationId="{EFEA0999-7791-4F4B-8AB8-C15542F07BB4}"/>
          </ac:spMkLst>
        </pc:spChg>
        <pc:spChg chg="del mod">
          <ac:chgData name="Everts, Susanne (Allianz Kunde und Markt)" userId="e35a5471-d092-49fe-8ba2-1b95fa53cb5e" providerId="ADAL" clId="{999F90E3-0FC2-4A9A-B99A-6B60E2E05E2E}" dt="2024-04-25T10:27:50.520" v="10150" actId="21"/>
          <ac:spMkLst>
            <pc:docMk/>
            <pc:sldMk cId="1401358157" sldId="2147483605"/>
            <ac:spMk id="18" creationId="{6BC3C4C2-ED2D-4A72-AD06-6FD31BDF215E}"/>
          </ac:spMkLst>
        </pc:spChg>
        <pc:spChg chg="mod">
          <ac:chgData name="Everts, Susanne (Allianz Kunde und Markt)" userId="e35a5471-d092-49fe-8ba2-1b95fa53cb5e" providerId="ADAL" clId="{999F90E3-0FC2-4A9A-B99A-6B60E2E05E2E}" dt="2024-04-25T07:17:25.825" v="7671" actId="14100"/>
          <ac:spMkLst>
            <pc:docMk/>
            <pc:sldMk cId="1401358157" sldId="2147483605"/>
            <ac:spMk id="24" creationId="{1E85E34B-22E1-42B6-94A7-0885707F4F6B}"/>
          </ac:spMkLst>
        </pc:spChg>
        <pc:spChg chg="del mod">
          <ac:chgData name="Everts, Susanne (Allianz Kunde und Markt)" userId="e35a5471-d092-49fe-8ba2-1b95fa53cb5e" providerId="ADAL" clId="{999F90E3-0FC2-4A9A-B99A-6B60E2E05E2E}" dt="2024-04-25T10:27:57.321" v="10153" actId="21"/>
          <ac:spMkLst>
            <pc:docMk/>
            <pc:sldMk cId="1401358157" sldId="2147483605"/>
            <ac:spMk id="76" creationId="{6BC3C4C2-ED2D-4A72-AD06-6FD31BDF215E}"/>
          </ac:spMkLst>
        </pc:spChg>
        <pc:spChg chg="mod">
          <ac:chgData name="Everts, Susanne (Allianz Kunde und Markt)" userId="e35a5471-d092-49fe-8ba2-1b95fa53cb5e" providerId="ADAL" clId="{999F90E3-0FC2-4A9A-B99A-6B60E2E05E2E}" dt="2024-04-26T07:24:09.939" v="10934" actId="20577"/>
          <ac:spMkLst>
            <pc:docMk/>
            <pc:sldMk cId="1401358157" sldId="2147483605"/>
            <ac:spMk id="78" creationId="{EFEA0999-7791-4F4B-8AB8-C15542F07BB4}"/>
          </ac:spMkLst>
        </pc:spChg>
        <pc:spChg chg="del mod">
          <ac:chgData name="Everts, Susanne (Allianz Kunde und Markt)" userId="e35a5471-d092-49fe-8ba2-1b95fa53cb5e" providerId="ADAL" clId="{999F90E3-0FC2-4A9A-B99A-6B60E2E05E2E}" dt="2024-04-25T09:39:38.859" v="9345" actId="478"/>
          <ac:spMkLst>
            <pc:docMk/>
            <pc:sldMk cId="1401358157" sldId="2147483605"/>
            <ac:spMk id="98" creationId="{63874A8D-9D65-4C6B-843E-EB1735669411}"/>
          </ac:spMkLst>
        </pc:spChg>
        <pc:spChg chg="mod">
          <ac:chgData name="Everts, Susanne (Allianz Kunde und Markt)" userId="e35a5471-d092-49fe-8ba2-1b95fa53cb5e" providerId="ADAL" clId="{999F90E3-0FC2-4A9A-B99A-6B60E2E05E2E}" dt="2024-04-25T07:20:23.698" v="7710" actId="6549"/>
          <ac:spMkLst>
            <pc:docMk/>
            <pc:sldMk cId="1401358157" sldId="2147483605"/>
            <ac:spMk id="115" creationId="{00000000-0000-0000-0000-000000000000}"/>
          </ac:spMkLst>
        </pc:spChg>
        <pc:cxnChg chg="add mod">
          <ac:chgData name="Everts, Susanne (Allianz Kunde und Markt)" userId="e35a5471-d092-49fe-8ba2-1b95fa53cb5e" providerId="ADAL" clId="{999F90E3-0FC2-4A9A-B99A-6B60E2E05E2E}" dt="2024-04-25T09:41:58.664" v="9415" actId="1037"/>
          <ac:cxnSpMkLst>
            <pc:docMk/>
            <pc:sldMk cId="1401358157" sldId="2147483605"/>
            <ac:cxnSpMk id="6" creationId="{01E4A3F0-EB49-0B8F-D60E-E70A7C91BA2F}"/>
          </ac:cxnSpMkLst>
        </pc:cxnChg>
        <pc:cxnChg chg="mod">
          <ac:chgData name="Everts, Susanne (Allianz Kunde und Markt)" userId="e35a5471-d092-49fe-8ba2-1b95fa53cb5e" providerId="ADAL" clId="{999F90E3-0FC2-4A9A-B99A-6B60E2E05E2E}" dt="2024-04-25T09:41:55.125" v="9410" actId="1038"/>
          <ac:cxnSpMkLst>
            <pc:docMk/>
            <pc:sldMk cId="1401358157" sldId="2147483605"/>
            <ac:cxnSpMk id="81" creationId="{E7640863-8014-404E-A750-1C6D1E5FAA21}"/>
          </ac:cxnSpMkLst>
        </pc:cxnChg>
        <pc:cxnChg chg="mod">
          <ac:chgData name="Everts, Susanne (Allianz Kunde und Markt)" userId="e35a5471-d092-49fe-8ba2-1b95fa53cb5e" providerId="ADAL" clId="{999F90E3-0FC2-4A9A-B99A-6B60E2E05E2E}" dt="2024-04-25T09:39:35.901" v="9344" actId="1036"/>
          <ac:cxnSpMkLst>
            <pc:docMk/>
            <pc:sldMk cId="1401358157" sldId="2147483605"/>
            <ac:cxnSpMk id="112" creationId="{00000000-0000-0000-0000-000000000000}"/>
          </ac:cxnSpMkLst>
        </pc:cxnChg>
      </pc:sldChg>
      <pc:sldChg chg="addSp delSp modSp add mod">
        <pc:chgData name="Everts, Susanne (Allianz Kunde und Markt)" userId="e35a5471-d092-49fe-8ba2-1b95fa53cb5e" providerId="ADAL" clId="{999F90E3-0FC2-4A9A-B99A-6B60E2E05E2E}" dt="2024-04-26T08:44:07.873" v="14568" actId="121"/>
        <pc:sldMkLst>
          <pc:docMk/>
          <pc:sldMk cId="2064112028" sldId="2147483606"/>
        </pc:sldMkLst>
        <pc:spChg chg="mod">
          <ac:chgData name="Everts, Susanne (Allianz Kunde und Markt)" userId="e35a5471-d092-49fe-8ba2-1b95fa53cb5e" providerId="ADAL" clId="{999F90E3-0FC2-4A9A-B99A-6B60E2E05E2E}" dt="2024-04-18T11:02:32.528" v="4096" actId="20577"/>
          <ac:spMkLst>
            <pc:docMk/>
            <pc:sldMk cId="2064112028" sldId="2147483606"/>
            <ac:spMk id="2" creationId="{00000000-0000-0000-0000-000000000000}"/>
          </ac:spMkLst>
        </pc:spChg>
        <pc:spChg chg="add mod">
          <ac:chgData name="Everts, Susanne (Allianz Kunde und Markt)" userId="e35a5471-d092-49fe-8ba2-1b95fa53cb5e" providerId="ADAL" clId="{999F90E3-0FC2-4A9A-B99A-6B60E2E05E2E}" dt="2024-04-26T07:38:29.536" v="11914" actId="20577"/>
          <ac:spMkLst>
            <pc:docMk/>
            <pc:sldMk cId="2064112028" sldId="2147483606"/>
            <ac:spMk id="3" creationId="{914B5743-D889-EBA6-151A-24A75B837428}"/>
          </ac:spMkLst>
        </pc:spChg>
        <pc:spChg chg="del mod">
          <ac:chgData name="Everts, Susanne (Allianz Kunde und Markt)" userId="e35a5471-d092-49fe-8ba2-1b95fa53cb5e" providerId="ADAL" clId="{999F90E3-0FC2-4A9A-B99A-6B60E2E05E2E}" dt="2024-04-25T10:27:02.709" v="10068" actId="478"/>
          <ac:spMkLst>
            <pc:docMk/>
            <pc:sldMk cId="2064112028" sldId="2147483606"/>
            <ac:spMk id="4" creationId="{00000000-0000-0000-0000-000000000000}"/>
          </ac:spMkLst>
        </pc:spChg>
        <pc:spChg chg="add mod ord">
          <ac:chgData name="Everts, Susanne (Allianz Kunde und Markt)" userId="e35a5471-d092-49fe-8ba2-1b95fa53cb5e" providerId="ADAL" clId="{999F90E3-0FC2-4A9A-B99A-6B60E2E05E2E}" dt="2024-04-26T08:42:49.363" v="14429" actId="166"/>
          <ac:spMkLst>
            <pc:docMk/>
            <pc:sldMk cId="2064112028" sldId="2147483606"/>
            <ac:spMk id="4" creationId="{7B4C86CE-F01D-99A6-B890-D087A69741ED}"/>
          </ac:spMkLst>
        </pc:spChg>
        <pc:spChg chg="add del mod">
          <ac:chgData name="Everts, Susanne (Allianz Kunde und Markt)" userId="e35a5471-d092-49fe-8ba2-1b95fa53cb5e" providerId="ADAL" clId="{999F90E3-0FC2-4A9A-B99A-6B60E2E05E2E}" dt="2024-04-25T10:27:06.545" v="10069" actId="478"/>
          <ac:spMkLst>
            <pc:docMk/>
            <pc:sldMk cId="2064112028" sldId="2147483606"/>
            <ac:spMk id="6" creationId="{F1B5B094-9502-9BB4-2AAF-7C1EC1C760AE}"/>
          </ac:spMkLst>
        </pc:spChg>
        <pc:spChg chg="mod">
          <ac:chgData name="Everts, Susanne (Allianz Kunde und Markt)" userId="e35a5471-d092-49fe-8ba2-1b95fa53cb5e" providerId="ADAL" clId="{999F90E3-0FC2-4A9A-B99A-6B60E2E05E2E}" dt="2024-04-26T08:43:38.088" v="14516" actId="1076"/>
          <ac:spMkLst>
            <pc:docMk/>
            <pc:sldMk cId="2064112028" sldId="2147483606"/>
            <ac:spMk id="13" creationId="{EFFF893A-2C8B-524C-B0F6-C4201F08DE9A}"/>
          </ac:spMkLst>
        </pc:spChg>
        <pc:spChg chg="add mod">
          <ac:chgData name="Everts, Susanne (Allianz Kunde und Markt)" userId="e35a5471-d092-49fe-8ba2-1b95fa53cb5e" providerId="ADAL" clId="{999F90E3-0FC2-4A9A-B99A-6B60E2E05E2E}" dt="2024-04-26T08:44:07.873" v="14568" actId="121"/>
          <ac:spMkLst>
            <pc:docMk/>
            <pc:sldMk cId="2064112028" sldId="2147483606"/>
            <ac:spMk id="19" creationId="{40F36A78-6220-2500-AEF2-E7C2148F9526}"/>
          </ac:spMkLst>
        </pc:spChg>
        <pc:spChg chg="add mod">
          <ac:chgData name="Everts, Susanne (Allianz Kunde und Markt)" userId="e35a5471-d092-49fe-8ba2-1b95fa53cb5e" providerId="ADAL" clId="{999F90E3-0FC2-4A9A-B99A-6B60E2E05E2E}" dt="2024-04-26T08:44:05.140" v="14567" actId="120"/>
          <ac:spMkLst>
            <pc:docMk/>
            <pc:sldMk cId="2064112028" sldId="2147483606"/>
            <ac:spMk id="23" creationId="{0CC49A83-2FCB-2768-26D1-EB2A99236A48}"/>
          </ac:spMkLst>
        </pc:spChg>
        <pc:spChg chg="mod">
          <ac:chgData name="Everts, Susanne (Allianz Kunde und Markt)" userId="e35a5471-d092-49fe-8ba2-1b95fa53cb5e" providerId="ADAL" clId="{999F90E3-0FC2-4A9A-B99A-6B60E2E05E2E}" dt="2024-04-25T07:17:51.484" v="7681" actId="14100"/>
          <ac:spMkLst>
            <pc:docMk/>
            <pc:sldMk cId="2064112028" sldId="2147483606"/>
            <ac:spMk id="24" creationId="{1E85E34B-22E1-42B6-94A7-0885707F4F6B}"/>
          </ac:spMkLst>
        </pc:spChg>
        <pc:grpChg chg="add del mod">
          <ac:chgData name="Everts, Susanne (Allianz Kunde und Markt)" userId="e35a5471-d092-49fe-8ba2-1b95fa53cb5e" providerId="ADAL" clId="{999F90E3-0FC2-4A9A-B99A-6B60E2E05E2E}" dt="2024-04-26T08:42:38.612" v="14425" actId="478"/>
          <ac:grpSpMkLst>
            <pc:docMk/>
            <pc:sldMk cId="2064112028" sldId="2147483606"/>
            <ac:grpSpMk id="12" creationId="{8086DBD2-9BC0-08EE-3448-5253B5A65305}"/>
          </ac:grpSpMkLst>
        </pc:grpChg>
        <pc:grpChg chg="add del mod">
          <ac:chgData name="Everts, Susanne (Allianz Kunde und Markt)" userId="e35a5471-d092-49fe-8ba2-1b95fa53cb5e" providerId="ADAL" clId="{999F90E3-0FC2-4A9A-B99A-6B60E2E05E2E}" dt="2024-04-26T08:42:31.545" v="14420"/>
          <ac:grpSpMkLst>
            <pc:docMk/>
            <pc:sldMk cId="2064112028" sldId="2147483606"/>
            <ac:grpSpMk id="14" creationId="{12E5904D-A1C1-ECA3-B288-2BFEFF043B08}"/>
          </ac:grpSpMkLst>
        </pc:grpChg>
        <pc:picChg chg="del">
          <ac:chgData name="Everts, Susanne (Allianz Kunde und Markt)" userId="e35a5471-d092-49fe-8ba2-1b95fa53cb5e" providerId="ADAL" clId="{999F90E3-0FC2-4A9A-B99A-6B60E2E05E2E}" dt="2024-04-18T11:02:34.165" v="4097" actId="478"/>
          <ac:picMkLst>
            <pc:docMk/>
            <pc:sldMk cId="2064112028" sldId="2147483606"/>
            <ac:picMk id="5" creationId="{00000000-0000-0000-0000-000000000000}"/>
          </ac:picMkLst>
        </pc:picChg>
        <pc:picChg chg="add mod">
          <ac:chgData name="Everts, Susanne (Allianz Kunde und Markt)" userId="e35a5471-d092-49fe-8ba2-1b95fa53cb5e" providerId="ADAL" clId="{999F90E3-0FC2-4A9A-B99A-6B60E2E05E2E}" dt="2024-04-26T08:42:27.082" v="14418" actId="164"/>
          <ac:picMkLst>
            <pc:docMk/>
            <pc:sldMk cId="2064112028" sldId="2147483606"/>
            <ac:picMk id="6" creationId="{F0B7867E-F603-272A-DFE9-9378BDD57905}"/>
          </ac:picMkLst>
        </pc:picChg>
        <pc:picChg chg="add mod modCrop">
          <ac:chgData name="Everts, Susanne (Allianz Kunde und Markt)" userId="e35a5471-d092-49fe-8ba2-1b95fa53cb5e" providerId="ADAL" clId="{999F90E3-0FC2-4A9A-B99A-6B60E2E05E2E}" dt="2024-04-26T08:42:27.082" v="14418" actId="164"/>
          <ac:picMkLst>
            <pc:docMk/>
            <pc:sldMk cId="2064112028" sldId="2147483606"/>
            <ac:picMk id="8" creationId="{19BCD5F9-9323-D9DA-7F42-3F36260AB8E8}"/>
          </ac:picMkLst>
        </pc:picChg>
        <pc:picChg chg="del">
          <ac:chgData name="Everts, Susanne (Allianz Kunde und Markt)" userId="e35a5471-d092-49fe-8ba2-1b95fa53cb5e" providerId="ADAL" clId="{999F90E3-0FC2-4A9A-B99A-6B60E2E05E2E}" dt="2024-04-18T11:02:34.551" v="4098" actId="478"/>
          <ac:picMkLst>
            <pc:docMk/>
            <pc:sldMk cId="2064112028" sldId="2147483606"/>
            <ac:picMk id="10" creationId="{00000000-0000-0000-0000-000000000000}"/>
          </ac:picMkLst>
        </pc:picChg>
        <pc:picChg chg="del">
          <ac:chgData name="Everts, Susanne (Allianz Kunde und Markt)" userId="e35a5471-d092-49fe-8ba2-1b95fa53cb5e" providerId="ADAL" clId="{999F90E3-0FC2-4A9A-B99A-6B60E2E05E2E}" dt="2024-04-18T11:02:34.936" v="4099" actId="478"/>
          <ac:picMkLst>
            <pc:docMk/>
            <pc:sldMk cId="2064112028" sldId="2147483606"/>
            <ac:picMk id="11" creationId="{00000000-0000-0000-0000-000000000000}"/>
          </ac:picMkLst>
        </pc:picChg>
        <pc:picChg chg="add mod">
          <ac:chgData name="Everts, Susanne (Allianz Kunde und Markt)" userId="e35a5471-d092-49fe-8ba2-1b95fa53cb5e" providerId="ADAL" clId="{999F90E3-0FC2-4A9A-B99A-6B60E2E05E2E}" dt="2024-04-26T08:42:27.082" v="14418" actId="164"/>
          <ac:picMkLst>
            <pc:docMk/>
            <pc:sldMk cId="2064112028" sldId="2147483606"/>
            <ac:picMk id="11" creationId="{0C6263E8-6C84-7201-AD84-D4837F7FA88D}"/>
          </ac:picMkLst>
        </pc:picChg>
        <pc:picChg chg="mod">
          <ac:chgData name="Everts, Susanne (Allianz Kunde und Markt)" userId="e35a5471-d092-49fe-8ba2-1b95fa53cb5e" providerId="ADAL" clId="{999F90E3-0FC2-4A9A-B99A-6B60E2E05E2E}" dt="2024-04-26T08:42:29.857" v="14419"/>
          <ac:picMkLst>
            <pc:docMk/>
            <pc:sldMk cId="2064112028" sldId="2147483606"/>
            <ac:picMk id="15" creationId="{1BC3D0F1-F5D4-3525-D9F0-2B06E7E49016}"/>
          </ac:picMkLst>
        </pc:picChg>
        <pc:picChg chg="mod">
          <ac:chgData name="Everts, Susanne (Allianz Kunde und Markt)" userId="e35a5471-d092-49fe-8ba2-1b95fa53cb5e" providerId="ADAL" clId="{999F90E3-0FC2-4A9A-B99A-6B60E2E05E2E}" dt="2024-04-26T08:42:29.857" v="14419"/>
          <ac:picMkLst>
            <pc:docMk/>
            <pc:sldMk cId="2064112028" sldId="2147483606"/>
            <ac:picMk id="16" creationId="{AEF4F85E-0202-77A4-CB89-8EEF068A2B8E}"/>
          </ac:picMkLst>
        </pc:picChg>
        <pc:picChg chg="mod">
          <ac:chgData name="Everts, Susanne (Allianz Kunde und Markt)" userId="e35a5471-d092-49fe-8ba2-1b95fa53cb5e" providerId="ADAL" clId="{999F90E3-0FC2-4A9A-B99A-6B60E2E05E2E}" dt="2024-04-26T08:42:29.857" v="14419"/>
          <ac:picMkLst>
            <pc:docMk/>
            <pc:sldMk cId="2064112028" sldId="2147483606"/>
            <ac:picMk id="17" creationId="{35EA25C8-28D3-A4CA-C58D-ECE603E30F49}"/>
          </ac:picMkLst>
        </pc:picChg>
        <pc:picChg chg="add mod">
          <ac:chgData name="Everts, Susanne (Allianz Kunde und Markt)" userId="e35a5471-d092-49fe-8ba2-1b95fa53cb5e" providerId="ADAL" clId="{999F90E3-0FC2-4A9A-B99A-6B60E2E05E2E}" dt="2024-04-26T08:43:27.705" v="14511" actId="1076"/>
          <ac:picMkLst>
            <pc:docMk/>
            <pc:sldMk cId="2064112028" sldId="2147483606"/>
            <ac:picMk id="18" creationId="{EB9BA81B-DAB8-E7E9-CE5C-92025E4CD1A7}"/>
          </ac:picMkLst>
        </pc:picChg>
        <pc:cxnChg chg="add mod">
          <ac:chgData name="Everts, Susanne (Allianz Kunde und Markt)" userId="e35a5471-d092-49fe-8ba2-1b95fa53cb5e" providerId="ADAL" clId="{999F90E3-0FC2-4A9A-B99A-6B60E2E05E2E}" dt="2024-04-26T08:43:30.742" v="14513" actId="14100"/>
          <ac:cxnSpMkLst>
            <pc:docMk/>
            <pc:sldMk cId="2064112028" sldId="2147483606"/>
            <ac:cxnSpMk id="20" creationId="{26FB1D55-1253-DB19-1CC9-F01A5D3E9110}"/>
          </ac:cxnSpMkLst>
        </pc:cxnChg>
        <pc:cxnChg chg="add mod">
          <ac:chgData name="Everts, Susanne (Allianz Kunde und Markt)" userId="e35a5471-d092-49fe-8ba2-1b95fa53cb5e" providerId="ADAL" clId="{999F90E3-0FC2-4A9A-B99A-6B60E2E05E2E}" dt="2024-04-26T08:43:59.255" v="14564" actId="14100"/>
          <ac:cxnSpMkLst>
            <pc:docMk/>
            <pc:sldMk cId="2064112028" sldId="2147483606"/>
            <ac:cxnSpMk id="25" creationId="{B3617BDE-2D17-371B-0DBD-87AAFD4EF65F}"/>
          </ac:cxnSpMkLst>
        </pc:cxnChg>
      </pc:sldChg>
      <pc:sldChg chg="addSp delSp modSp add mod">
        <pc:chgData name="Everts, Susanne (Allianz Kunde und Markt)" userId="e35a5471-d092-49fe-8ba2-1b95fa53cb5e" providerId="ADAL" clId="{999F90E3-0FC2-4A9A-B99A-6B60E2E05E2E}" dt="2024-04-26T08:20:42.312" v="13585" actId="108"/>
        <pc:sldMkLst>
          <pc:docMk/>
          <pc:sldMk cId="809935971" sldId="2147483607"/>
        </pc:sldMkLst>
        <pc:spChg chg="mod">
          <ac:chgData name="Everts, Susanne (Allianz Kunde und Markt)" userId="e35a5471-d092-49fe-8ba2-1b95fa53cb5e" providerId="ADAL" clId="{999F90E3-0FC2-4A9A-B99A-6B60E2E05E2E}" dt="2024-04-18T12:22:00.526" v="6247"/>
          <ac:spMkLst>
            <pc:docMk/>
            <pc:sldMk cId="809935971" sldId="2147483607"/>
            <ac:spMk id="5" creationId="{42B6B08F-5013-332B-45F9-B75AA273DF77}"/>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6" creationId="{725C98B6-7C5A-B82D-0F45-6DF536BF1FEA}"/>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7" creationId="{E7013C6B-9EF1-5DA9-5110-D3D0DDC0A211}"/>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8" creationId="{72D4BFB2-B91C-219B-8499-C81FDEACBBB7}"/>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11" creationId="{2A545630-02A4-75F3-F76F-595BF95876B0}"/>
          </ac:spMkLst>
        </pc:spChg>
        <pc:spChg chg="add mod">
          <ac:chgData name="Everts, Susanne (Allianz Kunde und Markt)" userId="e35a5471-d092-49fe-8ba2-1b95fa53cb5e" providerId="ADAL" clId="{999F90E3-0FC2-4A9A-B99A-6B60E2E05E2E}" dt="2024-04-26T08:20:42.312" v="13585" actId="108"/>
          <ac:spMkLst>
            <pc:docMk/>
            <pc:sldMk cId="809935971" sldId="2147483607"/>
            <ac:spMk id="12" creationId="{0A1F5B13-2DCB-CBCE-248D-256AE93116CE}"/>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13" creationId="{0457D775-2F23-EFB0-8A64-CFD9949BA58D}"/>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14" creationId="{36D5C361-9D87-1B52-140C-D157B5F267B2}"/>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15" creationId="{822E3958-AF0F-F222-D5A5-480AA4E58804}"/>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16" creationId="{79AC3F32-0EFD-BED8-B790-369ADF657B43}"/>
          </ac:spMkLst>
        </pc:spChg>
        <pc:spChg chg="add del mod">
          <ac:chgData name="Everts, Susanne (Allianz Kunde und Markt)" userId="e35a5471-d092-49fe-8ba2-1b95fa53cb5e" providerId="ADAL" clId="{999F90E3-0FC2-4A9A-B99A-6B60E2E05E2E}" dt="2024-04-26T07:38:53.760" v="11916" actId="478"/>
          <ac:spMkLst>
            <pc:docMk/>
            <pc:sldMk cId="809935971" sldId="2147483607"/>
            <ac:spMk id="17" creationId="{90DC9D11-606E-F9F5-8632-B34DCAFEA1FF}"/>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18" creationId="{1EB59408-8605-EBC6-4B33-1C41F77F8CE5}"/>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19" creationId="{41D2AAD6-1FC1-A80F-AA4F-D2CB99FB3318}"/>
          </ac:spMkLst>
        </pc:spChg>
        <pc:spChg chg="del">
          <ac:chgData name="Everts, Susanne (Allianz Kunde und Markt)" userId="e35a5471-d092-49fe-8ba2-1b95fa53cb5e" providerId="ADAL" clId="{999F90E3-0FC2-4A9A-B99A-6B60E2E05E2E}" dt="2024-04-18T12:21:54.043" v="6245" actId="478"/>
          <ac:spMkLst>
            <pc:docMk/>
            <pc:sldMk cId="809935971" sldId="2147483607"/>
            <ac:spMk id="19" creationId="{6BEAAB3B-0293-B64C-9D6B-B5B00CA9636D}"/>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20" creationId="{76964B84-7DC7-F908-FFA8-2D708432F1C1}"/>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21" creationId="{CBA5C314-59FB-4FCF-23A1-4290E6D9F3A7}"/>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22" creationId="{82F0549D-D648-2561-976C-128C30A6A214}"/>
          </ac:spMkLst>
        </pc:spChg>
        <pc:spChg chg="add mod">
          <ac:chgData name="Everts, Susanne (Allianz Kunde und Markt)" userId="e35a5471-d092-49fe-8ba2-1b95fa53cb5e" providerId="ADAL" clId="{999F90E3-0FC2-4A9A-B99A-6B60E2E05E2E}" dt="2024-04-26T08:14:21.142" v="13282" actId="20577"/>
          <ac:spMkLst>
            <pc:docMk/>
            <pc:sldMk cId="809935971" sldId="2147483607"/>
            <ac:spMk id="23" creationId="{6E09250A-E2AA-84E2-8C70-CEFD35F88567}"/>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24" creationId="{370A634F-0681-ED1F-509A-F4D88313D437}"/>
          </ac:spMkLst>
        </pc:spChg>
        <pc:spChg chg="mod">
          <ac:chgData name="Everts, Susanne (Allianz Kunde und Markt)" userId="e35a5471-d092-49fe-8ba2-1b95fa53cb5e" providerId="ADAL" clId="{999F90E3-0FC2-4A9A-B99A-6B60E2E05E2E}" dt="2024-04-18T12:22:00.526" v="6247"/>
          <ac:spMkLst>
            <pc:docMk/>
            <pc:sldMk cId="809935971" sldId="2147483607"/>
            <ac:spMk id="26" creationId="{0467B02F-D931-FA86-F574-16635B488FFD}"/>
          </ac:spMkLst>
        </pc:spChg>
        <pc:spChg chg="mod">
          <ac:chgData name="Everts, Susanne (Allianz Kunde und Markt)" userId="e35a5471-d092-49fe-8ba2-1b95fa53cb5e" providerId="ADAL" clId="{999F90E3-0FC2-4A9A-B99A-6B60E2E05E2E}" dt="2024-04-18T12:22:00.526" v="6247"/>
          <ac:spMkLst>
            <pc:docMk/>
            <pc:sldMk cId="809935971" sldId="2147483607"/>
            <ac:spMk id="27" creationId="{978FF8FE-F4B0-76FB-64D2-819945C41A57}"/>
          </ac:spMkLst>
        </pc:spChg>
        <pc:spChg chg="mod">
          <ac:chgData name="Everts, Susanne (Allianz Kunde und Markt)" userId="e35a5471-d092-49fe-8ba2-1b95fa53cb5e" providerId="ADAL" clId="{999F90E3-0FC2-4A9A-B99A-6B60E2E05E2E}" dt="2024-04-18T12:22:00.526" v="6247"/>
          <ac:spMkLst>
            <pc:docMk/>
            <pc:sldMk cId="809935971" sldId="2147483607"/>
            <ac:spMk id="28" creationId="{186B5DE9-E0F1-EDBF-5B27-F36611A1FE7F}"/>
          </ac:spMkLst>
        </pc:spChg>
        <pc:spChg chg="del">
          <ac:chgData name="Everts, Susanne (Allianz Kunde und Markt)" userId="e35a5471-d092-49fe-8ba2-1b95fa53cb5e" providerId="ADAL" clId="{999F90E3-0FC2-4A9A-B99A-6B60E2E05E2E}" dt="2024-04-18T12:21:54.043" v="6245" actId="478"/>
          <ac:spMkLst>
            <pc:docMk/>
            <pc:sldMk cId="809935971" sldId="2147483607"/>
            <ac:spMk id="29" creationId="{B0AFAF5E-236B-1C4A-BF83-93B8E6CDC076}"/>
          </ac:spMkLst>
        </pc:spChg>
        <pc:spChg chg="mod">
          <ac:chgData name="Everts, Susanne (Allianz Kunde und Markt)" userId="e35a5471-d092-49fe-8ba2-1b95fa53cb5e" providerId="ADAL" clId="{999F90E3-0FC2-4A9A-B99A-6B60E2E05E2E}" dt="2024-04-18T12:22:00.526" v="6247"/>
          <ac:spMkLst>
            <pc:docMk/>
            <pc:sldMk cId="809935971" sldId="2147483607"/>
            <ac:spMk id="30" creationId="{4591F0DF-236E-375D-3770-6850A38085D2}"/>
          </ac:spMkLst>
        </pc:spChg>
        <pc:spChg chg="mod">
          <ac:chgData name="Everts, Susanne (Allianz Kunde und Markt)" userId="e35a5471-d092-49fe-8ba2-1b95fa53cb5e" providerId="ADAL" clId="{999F90E3-0FC2-4A9A-B99A-6B60E2E05E2E}" dt="2024-04-18T12:21:50.569" v="6244" actId="108"/>
          <ac:spMkLst>
            <pc:docMk/>
            <pc:sldMk cId="809935971" sldId="2147483607"/>
            <ac:spMk id="31" creationId="{00000000-0000-0000-0000-000000000000}"/>
          </ac:spMkLst>
        </pc:spChg>
        <pc:spChg chg="add del mod">
          <ac:chgData name="Everts, Susanne (Allianz Kunde und Markt)" userId="e35a5471-d092-49fe-8ba2-1b95fa53cb5e" providerId="ADAL" clId="{999F90E3-0FC2-4A9A-B99A-6B60E2E05E2E}" dt="2024-04-26T07:38:51.431" v="11915" actId="478"/>
          <ac:spMkLst>
            <pc:docMk/>
            <pc:sldMk cId="809935971" sldId="2147483607"/>
            <ac:spMk id="32" creationId="{F2A863BA-95F1-132D-1609-A95F03CF073D}"/>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33" creationId="{CF8EC47C-A5AD-1A75-DC58-A52C4F4E0034}"/>
          </ac:spMkLst>
        </pc:spChg>
        <pc:spChg chg="add mod">
          <ac:chgData name="Everts, Susanne (Allianz Kunde und Markt)" userId="e35a5471-d092-49fe-8ba2-1b95fa53cb5e" providerId="ADAL" clId="{999F90E3-0FC2-4A9A-B99A-6B60E2E05E2E}" dt="2024-04-26T08:14:14.371" v="13277" actId="1035"/>
          <ac:spMkLst>
            <pc:docMk/>
            <pc:sldMk cId="809935971" sldId="2147483607"/>
            <ac:spMk id="34" creationId="{3772EE7E-6C26-1987-6511-927138A8D1FB}"/>
          </ac:spMkLst>
        </pc:spChg>
        <pc:spChg chg="mod">
          <ac:chgData name="Everts, Susanne (Allianz Kunde und Markt)" userId="e35a5471-d092-49fe-8ba2-1b95fa53cb5e" providerId="ADAL" clId="{999F90E3-0FC2-4A9A-B99A-6B60E2E05E2E}" dt="2024-04-25T07:18:09.744" v="7687" actId="14100"/>
          <ac:spMkLst>
            <pc:docMk/>
            <pc:sldMk cId="809935971" sldId="2147483607"/>
            <ac:spMk id="37" creationId="{1E85E34B-22E1-42B6-94A7-0885707F4F6B}"/>
          </ac:spMkLst>
        </pc:spChg>
        <pc:spChg chg="mod">
          <ac:chgData name="Everts, Susanne (Allianz Kunde und Markt)" userId="e35a5471-d092-49fe-8ba2-1b95fa53cb5e" providerId="ADAL" clId="{999F90E3-0FC2-4A9A-B99A-6B60E2E05E2E}" dt="2024-04-18T12:22:21.230" v="6259" actId="1036"/>
          <ac:spMkLst>
            <pc:docMk/>
            <pc:sldMk cId="809935971" sldId="2147483607"/>
            <ac:spMk id="38" creationId="{00000000-0000-0000-0000-000000000000}"/>
          </ac:spMkLst>
        </pc:spChg>
        <pc:spChg chg="del">
          <ac:chgData name="Everts, Susanne (Allianz Kunde und Markt)" userId="e35a5471-d092-49fe-8ba2-1b95fa53cb5e" providerId="ADAL" clId="{999F90E3-0FC2-4A9A-B99A-6B60E2E05E2E}" dt="2024-04-18T12:21:54.043" v="6245" actId="478"/>
          <ac:spMkLst>
            <pc:docMk/>
            <pc:sldMk cId="809935971" sldId="2147483607"/>
            <ac:spMk id="46" creationId="{EC38730B-665D-2A40-AD1A-F596EABE3B47}"/>
          </ac:spMkLst>
        </pc:spChg>
        <pc:spChg chg="del">
          <ac:chgData name="Everts, Susanne (Allianz Kunde und Markt)" userId="e35a5471-d092-49fe-8ba2-1b95fa53cb5e" providerId="ADAL" clId="{999F90E3-0FC2-4A9A-B99A-6B60E2E05E2E}" dt="2024-04-18T12:21:54.043" v="6245" actId="478"/>
          <ac:spMkLst>
            <pc:docMk/>
            <pc:sldMk cId="809935971" sldId="2147483607"/>
            <ac:spMk id="67" creationId="{5DA8B122-952F-7B43-A755-67D79E47C17E}"/>
          </ac:spMkLst>
        </pc:spChg>
        <pc:spChg chg="del">
          <ac:chgData name="Everts, Susanne (Allianz Kunde und Markt)" userId="e35a5471-d092-49fe-8ba2-1b95fa53cb5e" providerId="ADAL" clId="{999F90E3-0FC2-4A9A-B99A-6B60E2E05E2E}" dt="2024-04-18T12:21:54.043" v="6245" actId="478"/>
          <ac:spMkLst>
            <pc:docMk/>
            <pc:sldMk cId="809935971" sldId="2147483607"/>
            <ac:spMk id="81" creationId="{D79AB167-5FC6-2048-98F9-5C28137B7F79}"/>
          </ac:spMkLst>
        </pc:spChg>
        <pc:spChg chg="del">
          <ac:chgData name="Everts, Susanne (Allianz Kunde und Markt)" userId="e35a5471-d092-49fe-8ba2-1b95fa53cb5e" providerId="ADAL" clId="{999F90E3-0FC2-4A9A-B99A-6B60E2E05E2E}" dt="2024-04-18T12:21:54.043" v="6245" actId="478"/>
          <ac:spMkLst>
            <pc:docMk/>
            <pc:sldMk cId="809935971" sldId="2147483607"/>
            <ac:spMk id="86" creationId="{1351EBEF-A2A0-044D-A2F2-982E7815A3BE}"/>
          </ac:spMkLst>
        </pc:spChg>
        <pc:spChg chg="del">
          <ac:chgData name="Everts, Susanne (Allianz Kunde und Markt)" userId="e35a5471-d092-49fe-8ba2-1b95fa53cb5e" providerId="ADAL" clId="{999F90E3-0FC2-4A9A-B99A-6B60E2E05E2E}" dt="2024-04-18T12:21:54.043" v="6245" actId="478"/>
          <ac:spMkLst>
            <pc:docMk/>
            <pc:sldMk cId="809935971" sldId="2147483607"/>
            <ac:spMk id="92" creationId="{5A1C6D6F-B982-9346-8888-A0AC370373C6}"/>
          </ac:spMkLst>
        </pc:spChg>
        <pc:spChg chg="del">
          <ac:chgData name="Everts, Susanne (Allianz Kunde und Markt)" userId="e35a5471-d092-49fe-8ba2-1b95fa53cb5e" providerId="ADAL" clId="{999F90E3-0FC2-4A9A-B99A-6B60E2E05E2E}" dt="2024-04-18T12:21:54.043" v="6245" actId="478"/>
          <ac:spMkLst>
            <pc:docMk/>
            <pc:sldMk cId="809935971" sldId="2147483607"/>
            <ac:spMk id="93" creationId="{8C3DA20A-0B3A-1E47-8924-36F34279335D}"/>
          </ac:spMkLst>
        </pc:spChg>
        <pc:spChg chg="del">
          <ac:chgData name="Everts, Susanne (Allianz Kunde und Markt)" userId="e35a5471-d092-49fe-8ba2-1b95fa53cb5e" providerId="ADAL" clId="{999F90E3-0FC2-4A9A-B99A-6B60E2E05E2E}" dt="2024-04-18T12:21:54.043" v="6245" actId="478"/>
          <ac:spMkLst>
            <pc:docMk/>
            <pc:sldMk cId="809935971" sldId="2147483607"/>
            <ac:spMk id="111" creationId="{EFFF893A-2C8B-524C-B0F6-C4201F08DE9A}"/>
          </ac:spMkLst>
        </pc:spChg>
        <pc:spChg chg="del">
          <ac:chgData name="Everts, Susanne (Allianz Kunde und Markt)" userId="e35a5471-d092-49fe-8ba2-1b95fa53cb5e" providerId="ADAL" clId="{999F90E3-0FC2-4A9A-B99A-6B60E2E05E2E}" dt="2024-04-18T12:21:54.043" v="6245" actId="478"/>
          <ac:spMkLst>
            <pc:docMk/>
            <pc:sldMk cId="809935971" sldId="2147483607"/>
            <ac:spMk id="134" creationId="{C8748CD0-C80B-DD4F-B212-B82855F23E79}"/>
          </ac:spMkLst>
        </pc:spChg>
        <pc:spChg chg="del">
          <ac:chgData name="Everts, Susanne (Allianz Kunde und Markt)" userId="e35a5471-d092-49fe-8ba2-1b95fa53cb5e" providerId="ADAL" clId="{999F90E3-0FC2-4A9A-B99A-6B60E2E05E2E}" dt="2024-04-18T12:21:54.043" v="6245" actId="478"/>
          <ac:spMkLst>
            <pc:docMk/>
            <pc:sldMk cId="809935971" sldId="2147483607"/>
            <ac:spMk id="135" creationId="{E0B0A819-180C-CF4C-8345-F9B9DC1D013C}"/>
          </ac:spMkLst>
        </pc:spChg>
        <pc:spChg chg="del">
          <ac:chgData name="Everts, Susanne (Allianz Kunde und Markt)" userId="e35a5471-d092-49fe-8ba2-1b95fa53cb5e" providerId="ADAL" clId="{999F90E3-0FC2-4A9A-B99A-6B60E2E05E2E}" dt="2024-04-18T12:21:54.043" v="6245" actId="478"/>
          <ac:spMkLst>
            <pc:docMk/>
            <pc:sldMk cId="809935971" sldId="2147483607"/>
            <ac:spMk id="136" creationId="{5E8F3349-17FF-D141-A067-5A7C56CB3FA6}"/>
          </ac:spMkLst>
        </pc:spChg>
        <pc:spChg chg="del">
          <ac:chgData name="Everts, Susanne (Allianz Kunde und Markt)" userId="e35a5471-d092-49fe-8ba2-1b95fa53cb5e" providerId="ADAL" clId="{999F90E3-0FC2-4A9A-B99A-6B60E2E05E2E}" dt="2024-04-18T12:21:54.043" v="6245" actId="478"/>
          <ac:spMkLst>
            <pc:docMk/>
            <pc:sldMk cId="809935971" sldId="2147483607"/>
            <ac:spMk id="161" creationId="{5959228C-D05E-4746-85BC-634B81770D3A}"/>
          </ac:spMkLst>
        </pc:spChg>
        <pc:grpChg chg="add mod">
          <ac:chgData name="Everts, Susanne (Allianz Kunde und Markt)" userId="e35a5471-d092-49fe-8ba2-1b95fa53cb5e" providerId="ADAL" clId="{999F90E3-0FC2-4A9A-B99A-6B60E2E05E2E}" dt="2024-04-26T08:14:14.371" v="13277" actId="1035"/>
          <ac:grpSpMkLst>
            <pc:docMk/>
            <pc:sldMk cId="809935971" sldId="2147483607"/>
            <ac:grpSpMk id="3" creationId="{458AB606-5FD1-9CD6-1A99-AA438D6FC143}"/>
          </ac:grpSpMkLst>
        </pc:grpChg>
        <pc:grpChg chg="add del mod">
          <ac:chgData name="Everts, Susanne (Allianz Kunde und Markt)" userId="e35a5471-d092-49fe-8ba2-1b95fa53cb5e" providerId="ADAL" clId="{999F90E3-0FC2-4A9A-B99A-6B60E2E05E2E}" dt="2024-04-18T12:22:28.730" v="6261" actId="478"/>
          <ac:grpSpMkLst>
            <pc:docMk/>
            <pc:sldMk cId="809935971" sldId="2147483607"/>
            <ac:grpSpMk id="24" creationId="{9CC43575-8233-52E0-3BAF-45BBA4234FAA}"/>
          </ac:grpSpMkLst>
        </pc:grpChg>
        <pc:grpChg chg="mod">
          <ac:chgData name="Everts, Susanne (Allianz Kunde und Markt)" userId="e35a5471-d092-49fe-8ba2-1b95fa53cb5e" providerId="ADAL" clId="{999F90E3-0FC2-4A9A-B99A-6B60E2E05E2E}" dt="2024-04-18T12:22:00.526" v="6247"/>
          <ac:grpSpMkLst>
            <pc:docMk/>
            <pc:sldMk cId="809935971" sldId="2147483607"/>
            <ac:grpSpMk id="25" creationId="{29D6CBC2-632C-300D-6DFF-F577D1398707}"/>
          </ac:grpSpMkLst>
        </pc:grpChg>
        <pc:grpChg chg="del">
          <ac:chgData name="Everts, Susanne (Allianz Kunde und Markt)" userId="e35a5471-d092-49fe-8ba2-1b95fa53cb5e" providerId="ADAL" clId="{999F90E3-0FC2-4A9A-B99A-6B60E2E05E2E}" dt="2024-04-18T12:21:54.043" v="6245" actId="478"/>
          <ac:grpSpMkLst>
            <pc:docMk/>
            <pc:sldMk cId="809935971" sldId="2147483607"/>
            <ac:grpSpMk id="101" creationId="{61F2A0F7-9398-F448-BF0E-78E4224F63FE}"/>
          </ac:grpSpMkLst>
        </pc:grpChg>
        <pc:picChg chg="add mod">
          <ac:chgData name="Everts, Susanne (Allianz Kunde und Markt)" userId="e35a5471-d092-49fe-8ba2-1b95fa53cb5e" providerId="ADAL" clId="{999F90E3-0FC2-4A9A-B99A-6B60E2E05E2E}" dt="2024-04-26T08:14:14.371" v="13277" actId="1035"/>
          <ac:picMkLst>
            <pc:docMk/>
            <pc:sldMk cId="809935971" sldId="2147483607"/>
            <ac:picMk id="2" creationId="{C30C0386-A4B1-23D4-9583-E9FFD7CDA910}"/>
          </ac:picMkLst>
        </pc:picChg>
        <pc:picChg chg="mod">
          <ac:chgData name="Everts, Susanne (Allianz Kunde und Markt)" userId="e35a5471-d092-49fe-8ba2-1b95fa53cb5e" providerId="ADAL" clId="{999F90E3-0FC2-4A9A-B99A-6B60E2E05E2E}" dt="2024-04-18T12:22:00.526" v="6247"/>
          <ac:picMkLst>
            <pc:docMk/>
            <pc:sldMk cId="809935971" sldId="2147483607"/>
            <ac:picMk id="4" creationId="{44F0A2FA-8C08-92FA-2380-3A9FF95D4A3C}"/>
          </ac:picMkLst>
        </pc:picChg>
        <pc:picChg chg="del">
          <ac:chgData name="Everts, Susanne (Allianz Kunde und Markt)" userId="e35a5471-d092-49fe-8ba2-1b95fa53cb5e" providerId="ADAL" clId="{999F90E3-0FC2-4A9A-B99A-6B60E2E05E2E}" dt="2024-04-18T12:21:54.043" v="6245" actId="478"/>
          <ac:picMkLst>
            <pc:docMk/>
            <pc:sldMk cId="809935971" sldId="2147483607"/>
            <ac:picMk id="66" creationId="{11D21012-3251-DB4D-B68C-23477BC6B017}"/>
          </ac:picMkLst>
        </pc:picChg>
        <pc:picChg chg="del">
          <ac:chgData name="Everts, Susanne (Allianz Kunde und Markt)" userId="e35a5471-d092-49fe-8ba2-1b95fa53cb5e" providerId="ADAL" clId="{999F90E3-0FC2-4A9A-B99A-6B60E2E05E2E}" dt="2024-04-18T12:21:54.043" v="6245" actId="478"/>
          <ac:picMkLst>
            <pc:docMk/>
            <pc:sldMk cId="809935971" sldId="2147483607"/>
            <ac:picMk id="71" creationId="{97F957F1-11DA-154B-AA56-4CDAAFD09A2B}"/>
          </ac:picMkLst>
        </pc:picChg>
        <pc:picChg chg="del">
          <ac:chgData name="Everts, Susanne (Allianz Kunde und Markt)" userId="e35a5471-d092-49fe-8ba2-1b95fa53cb5e" providerId="ADAL" clId="{999F90E3-0FC2-4A9A-B99A-6B60E2E05E2E}" dt="2024-04-18T12:21:54.043" v="6245" actId="478"/>
          <ac:picMkLst>
            <pc:docMk/>
            <pc:sldMk cId="809935971" sldId="2147483607"/>
            <ac:picMk id="74" creationId="{CE0744DB-6667-6241-BAE2-86993748458E}"/>
          </ac:picMkLst>
        </pc:picChg>
        <pc:picChg chg="del">
          <ac:chgData name="Everts, Susanne (Allianz Kunde und Markt)" userId="e35a5471-d092-49fe-8ba2-1b95fa53cb5e" providerId="ADAL" clId="{999F90E3-0FC2-4A9A-B99A-6B60E2E05E2E}" dt="2024-04-18T12:21:54.043" v="6245" actId="478"/>
          <ac:picMkLst>
            <pc:docMk/>
            <pc:sldMk cId="809935971" sldId="2147483607"/>
            <ac:picMk id="141" creationId="{385986AF-C9F0-B840-9B45-BD23B69A197A}"/>
          </ac:picMkLst>
        </pc:picChg>
      </pc:sldChg>
      <pc:sldChg chg="addSp delSp modSp add mod">
        <pc:chgData name="Everts, Susanne (Allianz Kunde und Markt)" userId="e35a5471-d092-49fe-8ba2-1b95fa53cb5e" providerId="ADAL" clId="{999F90E3-0FC2-4A9A-B99A-6B60E2E05E2E}" dt="2024-04-26T08:20:46.004" v="13587" actId="20577"/>
        <pc:sldMkLst>
          <pc:docMk/>
          <pc:sldMk cId="2423223372" sldId="2147483608"/>
        </pc:sldMkLst>
        <pc:spChg chg="add mod">
          <ac:chgData name="Everts, Susanne (Allianz Kunde und Markt)" userId="e35a5471-d092-49fe-8ba2-1b95fa53cb5e" providerId="ADAL" clId="{999F90E3-0FC2-4A9A-B99A-6B60E2E05E2E}" dt="2024-04-26T08:13:25.394" v="13245" actId="1035"/>
          <ac:spMkLst>
            <pc:docMk/>
            <pc:sldMk cId="2423223372" sldId="2147483608"/>
            <ac:spMk id="2" creationId="{FAC1CD8A-CEF7-11DB-2A48-AAB8CD999668}"/>
          </ac:spMkLst>
        </pc:spChg>
        <pc:spChg chg="add mod">
          <ac:chgData name="Everts, Susanne (Allianz Kunde und Markt)" userId="e35a5471-d092-49fe-8ba2-1b95fa53cb5e" providerId="ADAL" clId="{999F90E3-0FC2-4A9A-B99A-6B60E2E05E2E}" dt="2024-04-26T08:13:25.394" v="13245" actId="1035"/>
          <ac:spMkLst>
            <pc:docMk/>
            <pc:sldMk cId="2423223372" sldId="2147483608"/>
            <ac:spMk id="3" creationId="{AF14B232-4632-7B57-94FD-A36609FCDBB6}"/>
          </ac:spMkLst>
        </pc:spChg>
        <pc:spChg chg="add mod">
          <ac:chgData name="Everts, Susanne (Allianz Kunde und Markt)" userId="e35a5471-d092-49fe-8ba2-1b95fa53cb5e" providerId="ADAL" clId="{999F90E3-0FC2-4A9A-B99A-6B60E2E05E2E}" dt="2024-04-26T08:13:53.705" v="13250" actId="1076"/>
          <ac:spMkLst>
            <pc:docMk/>
            <pc:sldMk cId="2423223372" sldId="2147483608"/>
            <ac:spMk id="4" creationId="{F2B07F3A-D58B-2119-DA45-9FC6E40C9AEF}"/>
          </ac:spMkLst>
        </pc:spChg>
        <pc:spChg chg="del">
          <ac:chgData name="Everts, Susanne (Allianz Kunde und Markt)" userId="e35a5471-d092-49fe-8ba2-1b95fa53cb5e" providerId="ADAL" clId="{999F90E3-0FC2-4A9A-B99A-6B60E2E05E2E}" dt="2024-04-18T12:22:56.464" v="6296" actId="478"/>
          <ac:spMkLst>
            <pc:docMk/>
            <pc:sldMk cId="2423223372" sldId="2147483608"/>
            <ac:spMk id="6" creationId="{725C98B6-7C5A-B82D-0F45-6DF536BF1FEA}"/>
          </ac:spMkLst>
        </pc:spChg>
        <pc:spChg chg="add del mod">
          <ac:chgData name="Everts, Susanne (Allianz Kunde und Markt)" userId="e35a5471-d092-49fe-8ba2-1b95fa53cb5e" providerId="ADAL" clId="{999F90E3-0FC2-4A9A-B99A-6B60E2E05E2E}" dt="2024-04-26T08:05:23.372" v="13154" actId="478"/>
          <ac:spMkLst>
            <pc:docMk/>
            <pc:sldMk cId="2423223372" sldId="2147483608"/>
            <ac:spMk id="6" creationId="{868DB9AC-F867-3011-0A33-71AD486DB618}"/>
          </ac:spMkLst>
        </pc:spChg>
        <pc:spChg chg="add mod">
          <ac:chgData name="Everts, Susanne (Allianz Kunde und Markt)" userId="e35a5471-d092-49fe-8ba2-1b95fa53cb5e" providerId="ADAL" clId="{999F90E3-0FC2-4A9A-B99A-6B60E2E05E2E}" dt="2024-04-26T08:13:33.444" v="13247" actId="1076"/>
          <ac:spMkLst>
            <pc:docMk/>
            <pc:sldMk cId="2423223372" sldId="2147483608"/>
            <ac:spMk id="7" creationId="{A59A4C8D-3A15-F3F9-DA72-0843478EEBCC}"/>
          </ac:spMkLst>
        </pc:spChg>
        <pc:spChg chg="del">
          <ac:chgData name="Everts, Susanne (Allianz Kunde und Markt)" userId="e35a5471-d092-49fe-8ba2-1b95fa53cb5e" providerId="ADAL" clId="{999F90E3-0FC2-4A9A-B99A-6B60E2E05E2E}" dt="2024-04-18T12:22:56.464" v="6296" actId="478"/>
          <ac:spMkLst>
            <pc:docMk/>
            <pc:sldMk cId="2423223372" sldId="2147483608"/>
            <ac:spMk id="7" creationId="{E7013C6B-9EF1-5DA9-5110-D3D0DDC0A211}"/>
          </ac:spMkLst>
        </pc:spChg>
        <pc:spChg chg="del">
          <ac:chgData name="Everts, Susanne (Allianz Kunde und Markt)" userId="e35a5471-d092-49fe-8ba2-1b95fa53cb5e" providerId="ADAL" clId="{999F90E3-0FC2-4A9A-B99A-6B60E2E05E2E}" dt="2024-04-18T12:22:58.538" v="6299" actId="478"/>
          <ac:spMkLst>
            <pc:docMk/>
            <pc:sldMk cId="2423223372" sldId="2147483608"/>
            <ac:spMk id="8" creationId="{72D4BFB2-B91C-219B-8499-C81FDEACBBB7}"/>
          </ac:spMkLst>
        </pc:spChg>
        <pc:spChg chg="del">
          <ac:chgData name="Everts, Susanne (Allianz Kunde und Markt)" userId="e35a5471-d092-49fe-8ba2-1b95fa53cb5e" providerId="ADAL" clId="{999F90E3-0FC2-4A9A-B99A-6B60E2E05E2E}" dt="2024-04-18T12:22:56.464" v="6296" actId="478"/>
          <ac:spMkLst>
            <pc:docMk/>
            <pc:sldMk cId="2423223372" sldId="2147483608"/>
            <ac:spMk id="11" creationId="{2A545630-02A4-75F3-F76F-595BF95876B0}"/>
          </ac:spMkLst>
        </pc:spChg>
        <pc:spChg chg="del">
          <ac:chgData name="Everts, Susanne (Allianz Kunde und Markt)" userId="e35a5471-d092-49fe-8ba2-1b95fa53cb5e" providerId="ADAL" clId="{999F90E3-0FC2-4A9A-B99A-6B60E2E05E2E}" dt="2024-04-18T12:22:58.052" v="6298" actId="478"/>
          <ac:spMkLst>
            <pc:docMk/>
            <pc:sldMk cId="2423223372" sldId="2147483608"/>
            <ac:spMk id="12" creationId="{0A1F5B13-2DCB-CBCE-248D-256AE93116CE}"/>
          </ac:spMkLst>
        </pc:spChg>
        <pc:spChg chg="del">
          <ac:chgData name="Everts, Susanne (Allianz Kunde und Markt)" userId="e35a5471-d092-49fe-8ba2-1b95fa53cb5e" providerId="ADAL" clId="{999F90E3-0FC2-4A9A-B99A-6B60E2E05E2E}" dt="2024-04-18T12:22:56.464" v="6296" actId="478"/>
          <ac:spMkLst>
            <pc:docMk/>
            <pc:sldMk cId="2423223372" sldId="2147483608"/>
            <ac:spMk id="13" creationId="{0457D775-2F23-EFB0-8A64-CFD9949BA58D}"/>
          </ac:spMkLst>
        </pc:spChg>
        <pc:spChg chg="del">
          <ac:chgData name="Everts, Susanne (Allianz Kunde und Markt)" userId="e35a5471-d092-49fe-8ba2-1b95fa53cb5e" providerId="ADAL" clId="{999F90E3-0FC2-4A9A-B99A-6B60E2E05E2E}" dt="2024-04-18T12:22:56.464" v="6296" actId="478"/>
          <ac:spMkLst>
            <pc:docMk/>
            <pc:sldMk cId="2423223372" sldId="2147483608"/>
            <ac:spMk id="14" creationId="{36D5C361-9D87-1B52-140C-D157B5F267B2}"/>
          </ac:spMkLst>
        </pc:spChg>
        <pc:spChg chg="del">
          <ac:chgData name="Everts, Susanne (Allianz Kunde und Markt)" userId="e35a5471-d092-49fe-8ba2-1b95fa53cb5e" providerId="ADAL" clId="{999F90E3-0FC2-4A9A-B99A-6B60E2E05E2E}" dt="2024-04-18T12:22:56.464" v="6296" actId="478"/>
          <ac:spMkLst>
            <pc:docMk/>
            <pc:sldMk cId="2423223372" sldId="2147483608"/>
            <ac:spMk id="15" creationId="{822E3958-AF0F-F222-D5A5-480AA4E58804}"/>
          </ac:spMkLst>
        </pc:spChg>
        <pc:spChg chg="del">
          <ac:chgData name="Everts, Susanne (Allianz Kunde und Markt)" userId="e35a5471-d092-49fe-8ba2-1b95fa53cb5e" providerId="ADAL" clId="{999F90E3-0FC2-4A9A-B99A-6B60E2E05E2E}" dt="2024-04-18T12:22:56.464" v="6296" actId="478"/>
          <ac:spMkLst>
            <pc:docMk/>
            <pc:sldMk cId="2423223372" sldId="2147483608"/>
            <ac:spMk id="16" creationId="{79AC3F32-0EFD-BED8-B790-369ADF657B43}"/>
          </ac:spMkLst>
        </pc:spChg>
        <pc:spChg chg="del">
          <ac:chgData name="Everts, Susanne (Allianz Kunde und Markt)" userId="e35a5471-d092-49fe-8ba2-1b95fa53cb5e" providerId="ADAL" clId="{999F90E3-0FC2-4A9A-B99A-6B60E2E05E2E}" dt="2024-04-18T12:22:56.464" v="6296" actId="478"/>
          <ac:spMkLst>
            <pc:docMk/>
            <pc:sldMk cId="2423223372" sldId="2147483608"/>
            <ac:spMk id="17" creationId="{90DC9D11-606E-F9F5-8632-B34DCAFEA1FF}"/>
          </ac:spMkLst>
        </pc:spChg>
        <pc:spChg chg="del">
          <ac:chgData name="Everts, Susanne (Allianz Kunde und Markt)" userId="e35a5471-d092-49fe-8ba2-1b95fa53cb5e" providerId="ADAL" clId="{999F90E3-0FC2-4A9A-B99A-6B60E2E05E2E}" dt="2024-04-18T12:22:56.464" v="6296" actId="478"/>
          <ac:spMkLst>
            <pc:docMk/>
            <pc:sldMk cId="2423223372" sldId="2147483608"/>
            <ac:spMk id="18" creationId="{1EB59408-8605-EBC6-4B33-1C41F77F8CE5}"/>
          </ac:spMkLst>
        </pc:spChg>
        <pc:spChg chg="add mod">
          <ac:chgData name="Everts, Susanne (Allianz Kunde und Markt)" userId="e35a5471-d092-49fe-8ba2-1b95fa53cb5e" providerId="ADAL" clId="{999F90E3-0FC2-4A9A-B99A-6B60E2E05E2E}" dt="2024-04-26T08:13:25.394" v="13245" actId="1035"/>
          <ac:spMkLst>
            <pc:docMk/>
            <pc:sldMk cId="2423223372" sldId="2147483608"/>
            <ac:spMk id="19" creationId="{DCE1E30A-9DDC-9178-D87E-1D4C8FA90DF2}"/>
          </ac:spMkLst>
        </pc:spChg>
        <pc:spChg chg="del">
          <ac:chgData name="Everts, Susanne (Allianz Kunde und Markt)" userId="e35a5471-d092-49fe-8ba2-1b95fa53cb5e" providerId="ADAL" clId="{999F90E3-0FC2-4A9A-B99A-6B60E2E05E2E}" dt="2024-04-18T12:22:56.464" v="6296" actId="478"/>
          <ac:spMkLst>
            <pc:docMk/>
            <pc:sldMk cId="2423223372" sldId="2147483608"/>
            <ac:spMk id="20" creationId="{76964B84-7DC7-F908-FFA8-2D708432F1C1}"/>
          </ac:spMkLst>
        </pc:spChg>
        <pc:spChg chg="del">
          <ac:chgData name="Everts, Susanne (Allianz Kunde und Markt)" userId="e35a5471-d092-49fe-8ba2-1b95fa53cb5e" providerId="ADAL" clId="{999F90E3-0FC2-4A9A-B99A-6B60E2E05E2E}" dt="2024-04-18T12:22:56.464" v="6296" actId="478"/>
          <ac:spMkLst>
            <pc:docMk/>
            <pc:sldMk cId="2423223372" sldId="2147483608"/>
            <ac:spMk id="21" creationId="{CBA5C314-59FB-4FCF-23A1-4290E6D9F3A7}"/>
          </ac:spMkLst>
        </pc:spChg>
        <pc:spChg chg="del">
          <ac:chgData name="Everts, Susanne (Allianz Kunde und Markt)" userId="e35a5471-d092-49fe-8ba2-1b95fa53cb5e" providerId="ADAL" clId="{999F90E3-0FC2-4A9A-B99A-6B60E2E05E2E}" dt="2024-04-18T12:22:56.464" v="6296" actId="478"/>
          <ac:spMkLst>
            <pc:docMk/>
            <pc:sldMk cId="2423223372" sldId="2147483608"/>
            <ac:spMk id="22" creationId="{82F0549D-D648-2561-976C-128C30A6A214}"/>
          </ac:spMkLst>
        </pc:spChg>
        <pc:spChg chg="del">
          <ac:chgData name="Everts, Susanne (Allianz Kunde und Markt)" userId="e35a5471-d092-49fe-8ba2-1b95fa53cb5e" providerId="ADAL" clId="{999F90E3-0FC2-4A9A-B99A-6B60E2E05E2E}" dt="2024-04-18T12:22:57.620" v="6297" actId="478"/>
          <ac:spMkLst>
            <pc:docMk/>
            <pc:sldMk cId="2423223372" sldId="2147483608"/>
            <ac:spMk id="23" creationId="{6E09250A-E2AA-84E2-8C70-CEFD35F88567}"/>
          </ac:spMkLst>
        </pc:spChg>
        <pc:spChg chg="add mod">
          <ac:chgData name="Everts, Susanne (Allianz Kunde und Markt)" userId="e35a5471-d092-49fe-8ba2-1b95fa53cb5e" providerId="ADAL" clId="{999F90E3-0FC2-4A9A-B99A-6B60E2E05E2E}" dt="2024-04-26T08:13:25.394" v="13245" actId="1035"/>
          <ac:spMkLst>
            <pc:docMk/>
            <pc:sldMk cId="2423223372" sldId="2147483608"/>
            <ac:spMk id="24" creationId="{2B21C98C-A1CA-0610-8768-C17B2C0A70A8}"/>
          </ac:spMkLst>
        </pc:spChg>
        <pc:spChg chg="add mod">
          <ac:chgData name="Everts, Susanne (Allianz Kunde und Markt)" userId="e35a5471-d092-49fe-8ba2-1b95fa53cb5e" providerId="ADAL" clId="{999F90E3-0FC2-4A9A-B99A-6B60E2E05E2E}" dt="2024-04-26T08:13:25.394" v="13245" actId="1035"/>
          <ac:spMkLst>
            <pc:docMk/>
            <pc:sldMk cId="2423223372" sldId="2147483608"/>
            <ac:spMk id="25" creationId="{A6093A5F-8322-E41D-8ABE-32CA0FEC5A7A}"/>
          </ac:spMkLst>
        </pc:spChg>
        <pc:spChg chg="add mod">
          <ac:chgData name="Everts, Susanne (Allianz Kunde und Markt)" userId="e35a5471-d092-49fe-8ba2-1b95fa53cb5e" providerId="ADAL" clId="{999F90E3-0FC2-4A9A-B99A-6B60E2E05E2E}" dt="2024-04-26T08:14:24.738" v="13287" actId="20577"/>
          <ac:spMkLst>
            <pc:docMk/>
            <pc:sldMk cId="2423223372" sldId="2147483608"/>
            <ac:spMk id="26" creationId="{24FC68B8-6EF1-3DA8-0F4E-CB429610FBB3}"/>
          </ac:spMkLst>
        </pc:spChg>
        <pc:spChg chg="add mod">
          <ac:chgData name="Everts, Susanne (Allianz Kunde und Markt)" userId="e35a5471-d092-49fe-8ba2-1b95fa53cb5e" providerId="ADAL" clId="{999F90E3-0FC2-4A9A-B99A-6B60E2E05E2E}" dt="2024-04-26T08:20:46.004" v="13587" actId="20577"/>
          <ac:spMkLst>
            <pc:docMk/>
            <pc:sldMk cId="2423223372" sldId="2147483608"/>
            <ac:spMk id="27" creationId="{DC91DD12-7973-E8F5-6A9A-581EDDBD3A65}"/>
          </ac:spMkLst>
        </pc:spChg>
        <pc:spChg chg="add mod">
          <ac:chgData name="Everts, Susanne (Allianz Kunde und Markt)" userId="e35a5471-d092-49fe-8ba2-1b95fa53cb5e" providerId="ADAL" clId="{999F90E3-0FC2-4A9A-B99A-6B60E2E05E2E}" dt="2024-04-26T08:13:25.394" v="13245" actId="1035"/>
          <ac:spMkLst>
            <pc:docMk/>
            <pc:sldMk cId="2423223372" sldId="2147483608"/>
            <ac:spMk id="28" creationId="{4E9B8296-DAE5-F1E1-57BC-82EB742EF517}"/>
          </ac:spMkLst>
        </pc:spChg>
        <pc:spChg chg="mod">
          <ac:chgData name="Everts, Susanne (Allianz Kunde und Markt)" userId="e35a5471-d092-49fe-8ba2-1b95fa53cb5e" providerId="ADAL" clId="{999F90E3-0FC2-4A9A-B99A-6B60E2E05E2E}" dt="2024-04-18T12:22:52.538" v="6295" actId="20577"/>
          <ac:spMkLst>
            <pc:docMk/>
            <pc:sldMk cId="2423223372" sldId="2147483608"/>
            <ac:spMk id="31" creationId="{00000000-0000-0000-0000-000000000000}"/>
          </ac:spMkLst>
        </pc:spChg>
        <pc:spChg chg="del">
          <ac:chgData name="Everts, Susanne (Allianz Kunde und Markt)" userId="e35a5471-d092-49fe-8ba2-1b95fa53cb5e" providerId="ADAL" clId="{999F90E3-0FC2-4A9A-B99A-6B60E2E05E2E}" dt="2024-04-18T12:22:56.464" v="6296" actId="478"/>
          <ac:spMkLst>
            <pc:docMk/>
            <pc:sldMk cId="2423223372" sldId="2147483608"/>
            <ac:spMk id="32" creationId="{F2A863BA-95F1-132D-1609-A95F03CF073D}"/>
          </ac:spMkLst>
        </pc:spChg>
        <pc:spChg chg="del">
          <ac:chgData name="Everts, Susanne (Allianz Kunde und Markt)" userId="e35a5471-d092-49fe-8ba2-1b95fa53cb5e" providerId="ADAL" clId="{999F90E3-0FC2-4A9A-B99A-6B60E2E05E2E}" dt="2024-04-18T12:22:56.464" v="6296" actId="478"/>
          <ac:spMkLst>
            <pc:docMk/>
            <pc:sldMk cId="2423223372" sldId="2147483608"/>
            <ac:spMk id="33" creationId="{CF8EC47C-A5AD-1A75-DC58-A52C4F4E0034}"/>
          </ac:spMkLst>
        </pc:spChg>
        <pc:spChg chg="del">
          <ac:chgData name="Everts, Susanne (Allianz Kunde und Markt)" userId="e35a5471-d092-49fe-8ba2-1b95fa53cb5e" providerId="ADAL" clId="{999F90E3-0FC2-4A9A-B99A-6B60E2E05E2E}" dt="2024-04-18T12:22:56.464" v="6296" actId="478"/>
          <ac:spMkLst>
            <pc:docMk/>
            <pc:sldMk cId="2423223372" sldId="2147483608"/>
            <ac:spMk id="34" creationId="{3772EE7E-6C26-1987-6511-927138A8D1FB}"/>
          </ac:spMkLst>
        </pc:spChg>
        <pc:spChg chg="mod">
          <ac:chgData name="Everts, Susanne (Allianz Kunde und Markt)" userId="e35a5471-d092-49fe-8ba2-1b95fa53cb5e" providerId="ADAL" clId="{999F90E3-0FC2-4A9A-B99A-6B60E2E05E2E}" dt="2024-04-25T07:18:14.352" v="7689" actId="14100"/>
          <ac:spMkLst>
            <pc:docMk/>
            <pc:sldMk cId="2423223372" sldId="2147483608"/>
            <ac:spMk id="37" creationId="{1E85E34B-22E1-42B6-94A7-0885707F4F6B}"/>
          </ac:spMkLst>
        </pc:spChg>
        <pc:spChg chg="add del mod">
          <ac:chgData name="Everts, Susanne (Allianz Kunde und Markt)" userId="e35a5471-d092-49fe-8ba2-1b95fa53cb5e" providerId="ADAL" clId="{999F90E3-0FC2-4A9A-B99A-6B60E2E05E2E}" dt="2024-04-26T08:13:37.655" v="13248" actId="478"/>
          <ac:spMkLst>
            <pc:docMk/>
            <pc:sldMk cId="2423223372" sldId="2147483608"/>
            <ac:spMk id="39" creationId="{AB4BDE71-F0ED-FA51-046D-20D085AD61D4}"/>
          </ac:spMkLst>
        </pc:spChg>
        <pc:spChg chg="add del mod">
          <ac:chgData name="Everts, Susanne (Allianz Kunde und Markt)" userId="e35a5471-d092-49fe-8ba2-1b95fa53cb5e" providerId="ADAL" clId="{999F90E3-0FC2-4A9A-B99A-6B60E2E05E2E}" dt="2024-04-26T08:13:39.097" v="13249" actId="478"/>
          <ac:spMkLst>
            <pc:docMk/>
            <pc:sldMk cId="2423223372" sldId="2147483608"/>
            <ac:spMk id="40" creationId="{664167F0-8382-73C1-7758-8DAAEF27F97E}"/>
          </ac:spMkLst>
        </pc:spChg>
        <pc:grpChg chg="del">
          <ac:chgData name="Everts, Susanne (Allianz Kunde und Markt)" userId="e35a5471-d092-49fe-8ba2-1b95fa53cb5e" providerId="ADAL" clId="{999F90E3-0FC2-4A9A-B99A-6B60E2E05E2E}" dt="2024-04-18T12:22:56.464" v="6296" actId="478"/>
          <ac:grpSpMkLst>
            <pc:docMk/>
            <pc:sldMk cId="2423223372" sldId="2147483608"/>
            <ac:grpSpMk id="3" creationId="{458AB606-5FD1-9CD6-1A99-AA438D6FC143}"/>
          </ac:grpSpMkLst>
        </pc:grpChg>
        <pc:picChg chg="del">
          <ac:chgData name="Everts, Susanne (Allianz Kunde und Markt)" userId="e35a5471-d092-49fe-8ba2-1b95fa53cb5e" providerId="ADAL" clId="{999F90E3-0FC2-4A9A-B99A-6B60E2E05E2E}" dt="2024-04-18T12:22:56.464" v="6296" actId="478"/>
          <ac:picMkLst>
            <pc:docMk/>
            <pc:sldMk cId="2423223372" sldId="2147483608"/>
            <ac:picMk id="2" creationId="{C30C0386-A4B1-23D4-9583-E9FFD7CDA910}"/>
          </ac:picMkLst>
        </pc:picChg>
        <pc:picChg chg="add mod">
          <ac:chgData name="Everts, Susanne (Allianz Kunde und Markt)" userId="e35a5471-d092-49fe-8ba2-1b95fa53cb5e" providerId="ADAL" clId="{999F90E3-0FC2-4A9A-B99A-6B60E2E05E2E}" dt="2024-04-26T08:13:25.394" v="13245" actId="1035"/>
          <ac:picMkLst>
            <pc:docMk/>
            <pc:sldMk cId="2423223372" sldId="2147483608"/>
            <ac:picMk id="30" creationId="{1A33D7D8-11D9-2F21-EE43-75C24801E594}"/>
          </ac:picMkLst>
        </pc:picChg>
        <pc:picChg chg="add mod">
          <ac:chgData name="Everts, Susanne (Allianz Kunde und Markt)" userId="e35a5471-d092-49fe-8ba2-1b95fa53cb5e" providerId="ADAL" clId="{999F90E3-0FC2-4A9A-B99A-6B60E2E05E2E}" dt="2024-04-26T08:13:25.394" v="13245" actId="1035"/>
          <ac:picMkLst>
            <pc:docMk/>
            <pc:sldMk cId="2423223372" sldId="2147483608"/>
            <ac:picMk id="35" creationId="{CEE40894-76A9-0C77-CCFD-F5852EDF7314}"/>
          </ac:picMkLst>
        </pc:picChg>
        <pc:cxnChg chg="add mod">
          <ac:chgData name="Everts, Susanne (Allianz Kunde und Markt)" userId="e35a5471-d092-49fe-8ba2-1b95fa53cb5e" providerId="ADAL" clId="{999F90E3-0FC2-4A9A-B99A-6B60E2E05E2E}" dt="2024-04-26T08:13:25.394" v="13245" actId="1035"/>
          <ac:cxnSpMkLst>
            <pc:docMk/>
            <pc:sldMk cId="2423223372" sldId="2147483608"/>
            <ac:cxnSpMk id="5" creationId="{7F37554B-A9FE-223B-ED70-67EEFCED8BAB}"/>
          </ac:cxnSpMkLst>
        </pc:cxnChg>
        <pc:cxnChg chg="add del mod">
          <ac:chgData name="Everts, Susanne (Allianz Kunde und Markt)" userId="e35a5471-d092-49fe-8ba2-1b95fa53cb5e" providerId="ADAL" clId="{999F90E3-0FC2-4A9A-B99A-6B60E2E05E2E}" dt="2024-04-26T08:01:35.201" v="12890" actId="478"/>
          <ac:cxnSpMkLst>
            <pc:docMk/>
            <pc:sldMk cId="2423223372" sldId="2147483608"/>
            <ac:cxnSpMk id="29" creationId="{318B74BB-DA4F-5F45-4B45-25706BB43085}"/>
          </ac:cxnSpMkLst>
        </pc:cxnChg>
      </pc:sldChg>
      <pc:sldMasterChg chg="delSldLayout">
        <pc:chgData name="Everts, Susanne (Allianz Kunde und Markt)" userId="e35a5471-d092-49fe-8ba2-1b95fa53cb5e" providerId="ADAL" clId="{999F90E3-0FC2-4A9A-B99A-6B60E2E05E2E}" dt="2024-04-18T08:24:09.620" v="144" actId="47"/>
        <pc:sldMasterMkLst>
          <pc:docMk/>
          <pc:sldMasterMk cId="971295014" sldId="2147483648"/>
        </pc:sldMasterMkLst>
        <pc:sldLayoutChg chg="del">
          <pc:chgData name="Everts, Susanne (Allianz Kunde und Markt)" userId="e35a5471-d092-49fe-8ba2-1b95fa53cb5e" providerId="ADAL" clId="{999F90E3-0FC2-4A9A-B99A-6B60E2E05E2E}" dt="2024-04-18T08:24:09.620" v="144" actId="47"/>
          <pc:sldLayoutMkLst>
            <pc:docMk/>
            <pc:sldMasterMk cId="971295014" sldId="2147483648"/>
            <pc:sldLayoutMk cId="357289220" sldId="2147483754"/>
          </pc:sldLayoutMkLst>
        </pc:sldLayoutChg>
      </pc:sldMasterChg>
    </pc:docChg>
  </pc:docChgLst>
  <pc:docChgLst>
    <pc:chgData name="Everts, Susanne (Allianz Kunde und Markt)" userId="e35a5471-d092-49fe-8ba2-1b95fa53cb5e" providerId="ADAL" clId="{A02267DC-7FC5-49FC-9ECC-A59DAAC258CA}"/>
    <pc:docChg chg="custSel modSld">
      <pc:chgData name="Everts, Susanne (Allianz Kunde und Markt)" userId="e35a5471-d092-49fe-8ba2-1b95fa53cb5e" providerId="ADAL" clId="{A02267DC-7FC5-49FC-9ECC-A59DAAC258CA}" dt="2024-05-08T09:30:44.684" v="18" actId="115"/>
      <pc:docMkLst>
        <pc:docMk/>
      </pc:docMkLst>
      <pc:sldChg chg="modSp mod">
        <pc:chgData name="Everts, Susanne (Allianz Kunde und Markt)" userId="e35a5471-d092-49fe-8ba2-1b95fa53cb5e" providerId="ADAL" clId="{A02267DC-7FC5-49FC-9ECC-A59DAAC258CA}" dt="2024-05-08T09:29:17.130" v="16" actId="14100"/>
        <pc:sldMkLst>
          <pc:docMk/>
          <pc:sldMk cId="433443105" sldId="354"/>
        </pc:sldMkLst>
        <pc:spChg chg="mod">
          <ac:chgData name="Everts, Susanne (Allianz Kunde und Markt)" userId="e35a5471-d092-49fe-8ba2-1b95fa53cb5e" providerId="ADAL" clId="{A02267DC-7FC5-49FC-9ECC-A59DAAC258CA}" dt="2024-05-08T09:27:47.864" v="9" actId="20577"/>
          <ac:spMkLst>
            <pc:docMk/>
            <pc:sldMk cId="433443105" sldId="354"/>
            <ac:spMk id="21" creationId="{776A7451-7A8A-6677-5F78-D5617F58B189}"/>
          </ac:spMkLst>
        </pc:spChg>
        <pc:spChg chg="mod">
          <ac:chgData name="Everts, Susanne (Allianz Kunde und Markt)" userId="e35a5471-d092-49fe-8ba2-1b95fa53cb5e" providerId="ADAL" clId="{A02267DC-7FC5-49FC-9ECC-A59DAAC258CA}" dt="2024-05-08T09:27:27.151" v="5" actId="20577"/>
          <ac:spMkLst>
            <pc:docMk/>
            <pc:sldMk cId="433443105" sldId="354"/>
            <ac:spMk id="107" creationId="{99DCD131-CA70-CCDD-400C-94C5144322AD}"/>
          </ac:spMkLst>
        </pc:spChg>
        <pc:cxnChg chg="mod">
          <ac:chgData name="Everts, Susanne (Allianz Kunde und Markt)" userId="e35a5471-d092-49fe-8ba2-1b95fa53cb5e" providerId="ADAL" clId="{A02267DC-7FC5-49FC-9ECC-A59DAAC258CA}" dt="2024-05-08T09:29:17.130" v="16" actId="14100"/>
          <ac:cxnSpMkLst>
            <pc:docMk/>
            <pc:sldMk cId="433443105" sldId="354"/>
            <ac:cxnSpMk id="20" creationId="{2D190901-2A0B-9C2A-386F-7D570A165268}"/>
          </ac:cxnSpMkLst>
        </pc:cxnChg>
      </pc:sldChg>
      <pc:sldChg chg="modSp mod">
        <pc:chgData name="Everts, Susanne (Allianz Kunde und Markt)" userId="e35a5471-d092-49fe-8ba2-1b95fa53cb5e" providerId="ADAL" clId="{A02267DC-7FC5-49FC-9ECC-A59DAAC258CA}" dt="2024-05-08T09:30:44.684" v="18" actId="115"/>
        <pc:sldMkLst>
          <pc:docMk/>
          <pc:sldMk cId="221501774" sldId="2147483610"/>
        </pc:sldMkLst>
        <pc:spChg chg="mod">
          <ac:chgData name="Everts, Susanne (Allianz Kunde und Markt)" userId="e35a5471-d092-49fe-8ba2-1b95fa53cb5e" providerId="ADAL" clId="{A02267DC-7FC5-49FC-9ECC-A59DAAC258CA}" dt="2024-05-08T09:30:44.684" v="18" actId="115"/>
          <ac:spMkLst>
            <pc:docMk/>
            <pc:sldMk cId="221501774" sldId="2147483610"/>
            <ac:spMk id="25" creationId="{A31690FD-F0C7-BD47-B595-3B2A45517880}"/>
          </ac:spMkLst>
        </pc:spChg>
      </pc:sldChg>
    </pc:docChg>
  </pc:docChgLst>
  <pc:docChgLst>
    <pc:chgData name="Everts, Susanne (Allianz Kunde und Markt)" userId="e35a5471-d092-49fe-8ba2-1b95fa53cb5e" providerId="ADAL" clId="{9AEA668F-8C2C-45BD-B136-BD43198D1F06}"/>
    <pc:docChg chg="modSld">
      <pc:chgData name="Everts, Susanne (Allianz Kunde und Markt)" userId="e35a5471-d092-49fe-8ba2-1b95fa53cb5e" providerId="ADAL" clId="{9AEA668F-8C2C-45BD-B136-BD43198D1F06}" dt="2024-05-08T06:20:39.536" v="163" actId="403"/>
      <pc:docMkLst>
        <pc:docMk/>
      </pc:docMkLst>
      <pc:sldChg chg="modSp mod">
        <pc:chgData name="Everts, Susanne (Allianz Kunde und Markt)" userId="e35a5471-d092-49fe-8ba2-1b95fa53cb5e" providerId="ADAL" clId="{9AEA668F-8C2C-45BD-B136-BD43198D1F06}" dt="2024-05-08T06:18:17.076" v="145" actId="1035"/>
        <pc:sldMkLst>
          <pc:docMk/>
          <pc:sldMk cId="433443105" sldId="354"/>
        </pc:sldMkLst>
        <pc:spChg chg="mod">
          <ac:chgData name="Everts, Susanne (Allianz Kunde und Markt)" userId="e35a5471-d092-49fe-8ba2-1b95fa53cb5e" providerId="ADAL" clId="{9AEA668F-8C2C-45BD-B136-BD43198D1F06}" dt="2024-05-08T06:18:12.036" v="124" actId="552"/>
          <ac:spMkLst>
            <pc:docMk/>
            <pc:sldMk cId="433443105" sldId="354"/>
            <ac:spMk id="16" creationId="{CBE74906-FD3F-8729-1AED-80BD0B46CE5C}"/>
          </ac:spMkLst>
        </pc:spChg>
        <pc:spChg chg="mod">
          <ac:chgData name="Everts, Susanne (Allianz Kunde und Markt)" userId="e35a5471-d092-49fe-8ba2-1b95fa53cb5e" providerId="ADAL" clId="{9AEA668F-8C2C-45BD-B136-BD43198D1F06}" dt="2024-05-08T06:18:17.076" v="145" actId="1035"/>
          <ac:spMkLst>
            <pc:docMk/>
            <pc:sldMk cId="433443105" sldId="354"/>
            <ac:spMk id="19" creationId="{11C6BF8D-5D39-9A15-A04E-C40FE83761C4}"/>
          </ac:spMkLst>
        </pc:spChg>
        <pc:spChg chg="mod">
          <ac:chgData name="Everts, Susanne (Allianz Kunde und Markt)" userId="e35a5471-d092-49fe-8ba2-1b95fa53cb5e" providerId="ADAL" clId="{9AEA668F-8C2C-45BD-B136-BD43198D1F06}" dt="2024-05-08T06:18:12.036" v="124" actId="552"/>
          <ac:spMkLst>
            <pc:docMk/>
            <pc:sldMk cId="433443105" sldId="354"/>
            <ac:spMk id="21" creationId="{776A7451-7A8A-6677-5F78-D5617F58B189}"/>
          </ac:spMkLst>
        </pc:spChg>
        <pc:spChg chg="mod">
          <ac:chgData name="Everts, Susanne (Allianz Kunde und Markt)" userId="e35a5471-d092-49fe-8ba2-1b95fa53cb5e" providerId="ADAL" clId="{9AEA668F-8C2C-45BD-B136-BD43198D1F06}" dt="2024-05-08T06:17:56.092" v="121" actId="552"/>
          <ac:spMkLst>
            <pc:docMk/>
            <pc:sldMk cId="433443105" sldId="354"/>
            <ac:spMk id="107" creationId="{99DCD131-CA70-CCDD-400C-94C5144322AD}"/>
          </ac:spMkLst>
        </pc:spChg>
        <pc:grpChg chg="mod">
          <ac:chgData name="Everts, Susanne (Allianz Kunde und Markt)" userId="e35a5471-d092-49fe-8ba2-1b95fa53cb5e" providerId="ADAL" clId="{9AEA668F-8C2C-45BD-B136-BD43198D1F06}" dt="2024-05-08T06:18:05.639" v="123" actId="553"/>
          <ac:grpSpMkLst>
            <pc:docMk/>
            <pc:sldMk cId="433443105" sldId="354"/>
            <ac:grpSpMk id="22" creationId="{11FAEBEC-A5D0-BE8B-96A9-A06E049E7777}"/>
          </ac:grpSpMkLst>
        </pc:grpChg>
        <pc:grpChg chg="mod">
          <ac:chgData name="Everts, Susanne (Allianz Kunde und Markt)" userId="e35a5471-d092-49fe-8ba2-1b95fa53cb5e" providerId="ADAL" clId="{9AEA668F-8C2C-45BD-B136-BD43198D1F06}" dt="2024-05-08T06:18:05.639" v="123" actId="553"/>
          <ac:grpSpMkLst>
            <pc:docMk/>
            <pc:sldMk cId="433443105" sldId="354"/>
            <ac:grpSpMk id="26" creationId="{B26F311A-1607-1CAE-FBAF-CF36DF5CCEFA}"/>
          </ac:grpSpMkLst>
        </pc:grpChg>
        <pc:grpChg chg="mod">
          <ac:chgData name="Everts, Susanne (Allianz Kunde und Markt)" userId="e35a5471-d092-49fe-8ba2-1b95fa53cb5e" providerId="ADAL" clId="{9AEA668F-8C2C-45BD-B136-BD43198D1F06}" dt="2024-05-08T06:18:17.076" v="145" actId="1035"/>
          <ac:grpSpMkLst>
            <pc:docMk/>
            <pc:sldMk cId="433443105" sldId="354"/>
            <ac:grpSpMk id="83" creationId="{D8FBC01D-0542-0662-AAEB-6BF18D7FD5B6}"/>
          </ac:grpSpMkLst>
        </pc:grpChg>
        <pc:grpChg chg="mod">
          <ac:chgData name="Everts, Susanne (Allianz Kunde und Markt)" userId="e35a5471-d092-49fe-8ba2-1b95fa53cb5e" providerId="ADAL" clId="{9AEA668F-8C2C-45BD-B136-BD43198D1F06}" dt="2024-05-08T06:18:00.417" v="122" actId="553"/>
          <ac:grpSpMkLst>
            <pc:docMk/>
            <pc:sldMk cId="433443105" sldId="354"/>
            <ac:grpSpMk id="104" creationId="{9FF9CE94-DCC9-D768-D5F6-36CB62B25370}"/>
          </ac:grpSpMkLst>
        </pc:grpChg>
        <pc:cxnChg chg="mod">
          <ac:chgData name="Everts, Susanne (Allianz Kunde und Markt)" userId="e35a5471-d092-49fe-8ba2-1b95fa53cb5e" providerId="ADAL" clId="{9AEA668F-8C2C-45BD-B136-BD43198D1F06}" dt="2024-05-08T06:17:41.077" v="118" actId="1037"/>
          <ac:cxnSpMkLst>
            <pc:docMk/>
            <pc:sldMk cId="433443105" sldId="354"/>
            <ac:cxnSpMk id="20" creationId="{2D190901-2A0B-9C2A-386F-7D570A165268}"/>
          </ac:cxnSpMkLst>
        </pc:cxnChg>
      </pc:sldChg>
      <pc:sldChg chg="modSp mod">
        <pc:chgData name="Everts, Susanne (Allianz Kunde und Markt)" userId="e35a5471-d092-49fe-8ba2-1b95fa53cb5e" providerId="ADAL" clId="{9AEA668F-8C2C-45BD-B136-BD43198D1F06}" dt="2024-05-08T06:20:39.536" v="163" actId="403"/>
        <pc:sldMkLst>
          <pc:docMk/>
          <pc:sldMk cId="1401358157" sldId="2147483605"/>
        </pc:sldMkLst>
        <pc:spChg chg="mod">
          <ac:chgData name="Everts, Susanne (Allianz Kunde und Markt)" userId="e35a5471-d092-49fe-8ba2-1b95fa53cb5e" providerId="ADAL" clId="{9AEA668F-8C2C-45BD-B136-BD43198D1F06}" dt="2024-05-08T06:20:33.660" v="162" actId="403"/>
          <ac:spMkLst>
            <pc:docMk/>
            <pc:sldMk cId="1401358157" sldId="2147483605"/>
            <ac:spMk id="17" creationId="{EFEA0999-7791-4F4B-8AB8-C15542F07BB4}"/>
          </ac:spMkLst>
        </pc:spChg>
        <pc:spChg chg="mod">
          <ac:chgData name="Everts, Susanne (Allianz Kunde und Markt)" userId="e35a5471-d092-49fe-8ba2-1b95fa53cb5e" providerId="ADAL" clId="{9AEA668F-8C2C-45BD-B136-BD43198D1F06}" dt="2024-05-08T06:20:39.536" v="163" actId="403"/>
          <ac:spMkLst>
            <pc:docMk/>
            <pc:sldMk cId="1401358157" sldId="2147483605"/>
            <ac:spMk id="78" creationId="{EFEA0999-7791-4F4B-8AB8-C15542F07BB4}"/>
          </ac:spMkLst>
        </pc:spChg>
      </pc:sldChg>
      <pc:sldChg chg="modSp mod">
        <pc:chgData name="Everts, Susanne (Allianz Kunde und Markt)" userId="e35a5471-d092-49fe-8ba2-1b95fa53cb5e" providerId="ADAL" clId="{9AEA668F-8C2C-45BD-B136-BD43198D1F06}" dt="2024-05-08T06:20:10.706" v="161" actId="1035"/>
        <pc:sldMkLst>
          <pc:docMk/>
          <pc:sldMk cId="809935971" sldId="2147483607"/>
        </pc:sldMkLst>
        <pc:spChg chg="mod">
          <ac:chgData name="Everts, Susanne (Allianz Kunde und Markt)" userId="e35a5471-d092-49fe-8ba2-1b95fa53cb5e" providerId="ADAL" clId="{9AEA668F-8C2C-45BD-B136-BD43198D1F06}" dt="2024-05-08T06:20:10.706" v="161" actId="1035"/>
          <ac:spMkLst>
            <pc:docMk/>
            <pc:sldMk cId="809935971" sldId="2147483607"/>
            <ac:spMk id="29" creationId="{8E9975AB-B008-DC2D-D564-429F71E6A613}"/>
          </ac:spMkLst>
        </pc:spChg>
      </pc:sldChg>
      <pc:sldChg chg="modSp mod">
        <pc:chgData name="Everts, Susanne (Allianz Kunde und Markt)" userId="e35a5471-d092-49fe-8ba2-1b95fa53cb5e" providerId="ADAL" clId="{9AEA668F-8C2C-45BD-B136-BD43198D1F06}" dt="2024-05-08T06:19:56.761" v="157" actId="14100"/>
        <pc:sldMkLst>
          <pc:docMk/>
          <pc:sldMk cId="2423223372" sldId="2147483608"/>
        </pc:sldMkLst>
        <pc:spChg chg="mod">
          <ac:chgData name="Everts, Susanne (Allianz Kunde und Markt)" userId="e35a5471-d092-49fe-8ba2-1b95fa53cb5e" providerId="ADAL" clId="{9AEA668F-8C2C-45BD-B136-BD43198D1F06}" dt="2024-05-08T06:19:56.761" v="157" actId="14100"/>
          <ac:spMkLst>
            <pc:docMk/>
            <pc:sldMk cId="2423223372" sldId="2147483608"/>
            <ac:spMk id="8" creationId="{1953263E-1962-03EE-2444-8946EAF28808}"/>
          </ac:spMkLst>
        </pc:spChg>
        <pc:picChg chg="mod">
          <ac:chgData name="Everts, Susanne (Allianz Kunde und Markt)" userId="e35a5471-d092-49fe-8ba2-1b95fa53cb5e" providerId="ADAL" clId="{9AEA668F-8C2C-45BD-B136-BD43198D1F06}" dt="2024-05-08T06:19:53.037" v="156" actId="1036"/>
          <ac:picMkLst>
            <pc:docMk/>
            <pc:sldMk cId="2423223372" sldId="2147483608"/>
            <ac:picMk id="14" creationId="{34042B01-EDE8-6225-3D20-1F7EECBEC497}"/>
          </ac:picMkLst>
        </pc:picChg>
        <pc:picChg chg="mod">
          <ac:chgData name="Everts, Susanne (Allianz Kunde und Markt)" userId="e35a5471-d092-49fe-8ba2-1b95fa53cb5e" providerId="ADAL" clId="{9AEA668F-8C2C-45BD-B136-BD43198D1F06}" dt="2024-05-08T06:19:53.037" v="156" actId="1036"/>
          <ac:picMkLst>
            <pc:docMk/>
            <pc:sldMk cId="2423223372" sldId="2147483608"/>
            <ac:picMk id="15" creationId="{3734D400-D18F-3247-5974-4E861ECB0DF9}"/>
          </ac:picMkLst>
        </pc:picChg>
        <pc:picChg chg="mod">
          <ac:chgData name="Everts, Susanne (Allianz Kunde und Markt)" userId="e35a5471-d092-49fe-8ba2-1b95fa53cb5e" providerId="ADAL" clId="{9AEA668F-8C2C-45BD-B136-BD43198D1F06}" dt="2024-05-08T06:19:53.037" v="156" actId="1036"/>
          <ac:picMkLst>
            <pc:docMk/>
            <pc:sldMk cId="2423223372" sldId="2147483608"/>
            <ac:picMk id="16" creationId="{B5C3AAD4-3A02-FBA2-D7AD-12CFFD2AB239}"/>
          </ac:picMkLst>
        </pc:picChg>
        <pc:picChg chg="mod">
          <ac:chgData name="Everts, Susanne (Allianz Kunde und Markt)" userId="e35a5471-d092-49fe-8ba2-1b95fa53cb5e" providerId="ADAL" clId="{9AEA668F-8C2C-45BD-B136-BD43198D1F06}" dt="2024-05-08T06:19:53.037" v="156" actId="1036"/>
          <ac:picMkLst>
            <pc:docMk/>
            <pc:sldMk cId="2423223372" sldId="2147483608"/>
            <ac:picMk id="17" creationId="{560B4D70-AC05-5AFF-1CE7-E7AFDE93B2A0}"/>
          </ac:picMkLst>
        </pc:picChg>
        <pc:picChg chg="mod">
          <ac:chgData name="Everts, Susanne (Allianz Kunde und Markt)" userId="e35a5471-d092-49fe-8ba2-1b95fa53cb5e" providerId="ADAL" clId="{9AEA668F-8C2C-45BD-B136-BD43198D1F06}" dt="2024-05-08T06:19:43.040" v="153" actId="554"/>
          <ac:picMkLst>
            <pc:docMk/>
            <pc:sldMk cId="2423223372" sldId="2147483608"/>
            <ac:picMk id="18" creationId="{31AF8624-127A-8953-B6A5-55339E640484}"/>
          </ac:picMkLst>
        </pc:picChg>
        <pc:picChg chg="mod">
          <ac:chgData name="Everts, Susanne (Allianz Kunde und Markt)" userId="e35a5471-d092-49fe-8ba2-1b95fa53cb5e" providerId="ADAL" clId="{9AEA668F-8C2C-45BD-B136-BD43198D1F06}" dt="2024-05-08T06:19:43.040" v="153" actId="554"/>
          <ac:picMkLst>
            <pc:docMk/>
            <pc:sldMk cId="2423223372" sldId="2147483608"/>
            <ac:picMk id="19" creationId="{EDDD50A2-7A63-324F-B712-0E9812749CD1}"/>
          </ac:picMkLst>
        </pc:picChg>
        <pc:picChg chg="mod">
          <ac:chgData name="Everts, Susanne (Allianz Kunde und Markt)" userId="e35a5471-d092-49fe-8ba2-1b95fa53cb5e" providerId="ADAL" clId="{9AEA668F-8C2C-45BD-B136-BD43198D1F06}" dt="2024-05-08T06:19:43.040" v="153" actId="554"/>
          <ac:picMkLst>
            <pc:docMk/>
            <pc:sldMk cId="2423223372" sldId="2147483608"/>
            <ac:picMk id="20" creationId="{11F3942C-53F4-4C40-D6A1-4178FAE0444C}"/>
          </ac:picMkLst>
        </pc:picChg>
      </pc:sldChg>
    </pc:docChg>
  </pc:docChgLst>
  <pc:docChgLst>
    <pc:chgData name="Everts, Susanne (Allianz Kunde und Markt)" userId="e35a5471-d092-49fe-8ba2-1b95fa53cb5e" providerId="ADAL" clId="{BFF2AB0B-A962-42F2-AE2E-171C5B61974C}"/>
    <pc:docChg chg="undo custSel modSld">
      <pc:chgData name="Everts, Susanne (Allianz Kunde und Markt)" userId="e35a5471-d092-49fe-8ba2-1b95fa53cb5e" providerId="ADAL" clId="{BFF2AB0B-A962-42F2-AE2E-171C5B61974C}" dt="2024-05-06T10:45:22.318" v="412" actId="1037"/>
      <pc:docMkLst>
        <pc:docMk/>
      </pc:docMkLst>
      <pc:sldChg chg="addSp delSp modSp mod">
        <pc:chgData name="Everts, Susanne (Allianz Kunde und Markt)" userId="e35a5471-d092-49fe-8ba2-1b95fa53cb5e" providerId="ADAL" clId="{BFF2AB0B-A962-42F2-AE2E-171C5B61974C}" dt="2024-05-06T10:35:20.169" v="261" actId="108"/>
        <pc:sldMkLst>
          <pc:docMk/>
          <pc:sldMk cId="2746217482" sldId="312"/>
        </pc:sldMkLst>
        <pc:spChg chg="mod">
          <ac:chgData name="Everts, Susanne (Allianz Kunde und Markt)" userId="e35a5471-d092-49fe-8ba2-1b95fa53cb5e" providerId="ADAL" clId="{BFF2AB0B-A962-42F2-AE2E-171C5B61974C}" dt="2024-05-06T10:34:44.909" v="216" actId="20577"/>
          <ac:spMkLst>
            <pc:docMk/>
            <pc:sldMk cId="2746217482" sldId="312"/>
            <ac:spMk id="4" creationId="{AB7EFCCF-C30C-CE46-91C2-F5C6000CF7E7}"/>
          </ac:spMkLst>
        </pc:spChg>
        <pc:spChg chg="mod">
          <ac:chgData name="Everts, Susanne (Allianz Kunde und Markt)" userId="e35a5471-d092-49fe-8ba2-1b95fa53cb5e" providerId="ADAL" clId="{BFF2AB0B-A962-42F2-AE2E-171C5B61974C}" dt="2024-05-06T10:35:20.169" v="261" actId="108"/>
          <ac:spMkLst>
            <pc:docMk/>
            <pc:sldMk cId="2746217482" sldId="312"/>
            <ac:spMk id="57" creationId="{373CECB8-A722-2D4C-BEA8-F9CB440202B6}"/>
          </ac:spMkLst>
        </pc:spChg>
        <pc:picChg chg="add del">
          <ac:chgData name="Everts, Susanne (Allianz Kunde und Markt)" userId="e35a5471-d092-49fe-8ba2-1b95fa53cb5e" providerId="ADAL" clId="{BFF2AB0B-A962-42F2-AE2E-171C5B61974C}" dt="2024-05-06T10:35:14.881" v="260" actId="478"/>
          <ac:picMkLst>
            <pc:docMk/>
            <pc:sldMk cId="2746217482" sldId="312"/>
            <ac:picMk id="1026" creationId="{F335F7C9-3C8D-9644-D880-5A5A290312EE}"/>
          </ac:picMkLst>
        </pc:picChg>
      </pc:sldChg>
      <pc:sldChg chg="addSp delSp modSp mod">
        <pc:chgData name="Everts, Susanne (Allianz Kunde und Markt)" userId="e35a5471-d092-49fe-8ba2-1b95fa53cb5e" providerId="ADAL" clId="{BFF2AB0B-A962-42F2-AE2E-171C5B61974C}" dt="2024-05-06T10:45:22.318" v="412" actId="1037"/>
        <pc:sldMkLst>
          <pc:docMk/>
          <pc:sldMk cId="809935971" sldId="2147483607"/>
        </pc:sldMkLst>
        <pc:spChg chg="mod">
          <ac:chgData name="Everts, Susanne (Allianz Kunde und Markt)" userId="e35a5471-d092-49fe-8ba2-1b95fa53cb5e" providerId="ADAL" clId="{BFF2AB0B-A962-42F2-AE2E-171C5B61974C}" dt="2024-05-06T10:45:19.658" v="402" actId="1037"/>
          <ac:spMkLst>
            <pc:docMk/>
            <pc:sldMk cId="809935971" sldId="2147483607"/>
            <ac:spMk id="78" creationId="{58335632-ABB8-3897-AFDE-7CBBE39B2996}"/>
          </ac:spMkLst>
        </pc:spChg>
        <pc:spChg chg="mod">
          <ac:chgData name="Everts, Susanne (Allianz Kunde und Markt)" userId="e35a5471-d092-49fe-8ba2-1b95fa53cb5e" providerId="ADAL" clId="{BFF2AB0B-A962-42F2-AE2E-171C5B61974C}" dt="2024-05-06T10:45:22.318" v="412" actId="1037"/>
          <ac:spMkLst>
            <pc:docMk/>
            <pc:sldMk cId="809935971" sldId="2147483607"/>
            <ac:spMk id="79" creationId="{AC8D1D7E-0C13-0F22-A7FD-AA30B0D4345F}"/>
          </ac:spMkLst>
        </pc:spChg>
        <pc:picChg chg="add mod ord">
          <ac:chgData name="Everts, Susanne (Allianz Kunde und Markt)" userId="e35a5471-d092-49fe-8ba2-1b95fa53cb5e" providerId="ADAL" clId="{BFF2AB0B-A962-42F2-AE2E-171C5B61974C}" dt="2024-05-06T10:45:01.657" v="395" actId="167"/>
          <ac:picMkLst>
            <pc:docMk/>
            <pc:sldMk cId="809935971" sldId="2147483607"/>
            <ac:picMk id="2" creationId="{C1098AD2-CF70-D03D-33B1-0BA1516B6F1F}"/>
          </ac:picMkLst>
        </pc:picChg>
        <pc:picChg chg="del">
          <ac:chgData name="Everts, Susanne (Allianz Kunde und Markt)" userId="e35a5471-d092-49fe-8ba2-1b95fa53cb5e" providerId="ADAL" clId="{BFF2AB0B-A962-42F2-AE2E-171C5B61974C}" dt="2024-05-06T10:44:54.435" v="393" actId="478"/>
          <ac:picMkLst>
            <pc:docMk/>
            <pc:sldMk cId="809935971" sldId="2147483607"/>
            <ac:picMk id="75" creationId="{6B5B6019-FFE2-5EC6-2892-C396D78496F2}"/>
          </ac:picMkLst>
        </pc:picChg>
      </pc:sldChg>
      <pc:sldChg chg="modSp mod">
        <pc:chgData name="Everts, Susanne (Allianz Kunde und Markt)" userId="e35a5471-d092-49fe-8ba2-1b95fa53cb5e" providerId="ADAL" clId="{BFF2AB0B-A962-42F2-AE2E-171C5B61974C}" dt="2024-05-06T10:44:25.973" v="392" actId="1036"/>
        <pc:sldMkLst>
          <pc:docMk/>
          <pc:sldMk cId="2423223372" sldId="2147483608"/>
        </pc:sldMkLst>
        <pc:spChg chg="mod">
          <ac:chgData name="Everts, Susanne (Allianz Kunde und Markt)" userId="e35a5471-d092-49fe-8ba2-1b95fa53cb5e" providerId="ADAL" clId="{BFF2AB0B-A962-42F2-AE2E-171C5B61974C}" dt="2024-05-06T10:42:34.113" v="297" actId="1035"/>
          <ac:spMkLst>
            <pc:docMk/>
            <pc:sldMk cId="2423223372" sldId="2147483608"/>
            <ac:spMk id="8" creationId="{1953263E-1962-03EE-2444-8946EAF28808}"/>
          </ac:spMkLst>
        </pc:spChg>
        <pc:spChg chg="mod">
          <ac:chgData name="Everts, Susanne (Allianz Kunde und Markt)" userId="e35a5471-d092-49fe-8ba2-1b95fa53cb5e" providerId="ADAL" clId="{BFF2AB0B-A962-42F2-AE2E-171C5B61974C}" dt="2024-05-06T10:42:34.113" v="297" actId="1035"/>
          <ac:spMkLst>
            <pc:docMk/>
            <pc:sldMk cId="2423223372" sldId="2147483608"/>
            <ac:spMk id="25" creationId="{A6093A5F-8322-E41D-8ABE-32CA0FEC5A7A}"/>
          </ac:spMkLst>
        </pc:spChg>
        <pc:spChg chg="mod">
          <ac:chgData name="Everts, Susanne (Allianz Kunde und Markt)" userId="e35a5471-d092-49fe-8ba2-1b95fa53cb5e" providerId="ADAL" clId="{BFF2AB0B-A962-42F2-AE2E-171C5B61974C}" dt="2024-05-06T10:44:25.973" v="392" actId="1036"/>
          <ac:spMkLst>
            <pc:docMk/>
            <pc:sldMk cId="2423223372" sldId="2147483608"/>
            <ac:spMk id="27" creationId="{DC91DD12-7973-E8F5-6A9A-581EDDBD3A65}"/>
          </ac:spMkLst>
        </pc:spChg>
        <pc:spChg chg="mod">
          <ac:chgData name="Everts, Susanne (Allianz Kunde und Markt)" userId="e35a5471-d092-49fe-8ba2-1b95fa53cb5e" providerId="ADAL" clId="{BFF2AB0B-A962-42F2-AE2E-171C5B61974C}" dt="2024-05-06T10:44:25.973" v="392" actId="1036"/>
          <ac:spMkLst>
            <pc:docMk/>
            <pc:sldMk cId="2423223372" sldId="2147483608"/>
            <ac:spMk id="28" creationId="{4E9B8296-DAE5-F1E1-57BC-82EB742EF517}"/>
          </ac:spMkLst>
        </pc:spChg>
        <pc:picChg chg="mod">
          <ac:chgData name="Everts, Susanne (Allianz Kunde und Markt)" userId="e35a5471-d092-49fe-8ba2-1b95fa53cb5e" providerId="ADAL" clId="{BFF2AB0B-A962-42F2-AE2E-171C5B61974C}" dt="2024-05-06T10:42:34.113" v="297" actId="1035"/>
          <ac:picMkLst>
            <pc:docMk/>
            <pc:sldMk cId="2423223372" sldId="2147483608"/>
            <ac:picMk id="6" creationId="{C5645811-BE6A-C569-9391-76A48030E86E}"/>
          </ac:picMkLst>
        </pc:picChg>
        <pc:cxnChg chg="mod">
          <ac:chgData name="Everts, Susanne (Allianz Kunde und Markt)" userId="e35a5471-d092-49fe-8ba2-1b95fa53cb5e" providerId="ADAL" clId="{BFF2AB0B-A962-42F2-AE2E-171C5B61974C}" dt="2024-05-06T10:44:08.914" v="359" actId="1038"/>
          <ac:cxnSpMkLst>
            <pc:docMk/>
            <pc:sldMk cId="2423223372" sldId="2147483608"/>
            <ac:cxnSpMk id="5" creationId="{7F37554B-A9FE-223B-ED70-67EEFCED8BAB}"/>
          </ac:cxnSpMkLst>
        </pc:cxnChg>
      </pc:sldChg>
    </pc:docChg>
  </pc:docChgLst>
  <pc:docChgLst>
    <pc:chgData name="von Tschammer, Arne (Allianz Kunde und Markt)" userId="052f4853-5977-4a42-acc0-739442858c30" providerId="ADAL" clId="{2187FAC5-4C4D-4D9D-8273-3BEC47FA5782}"/>
    <pc:docChg chg="modSld">
      <pc:chgData name="von Tschammer, Arne (Allianz Kunde und Markt)" userId="052f4853-5977-4a42-acc0-739442858c30" providerId="ADAL" clId="{2187FAC5-4C4D-4D9D-8273-3BEC47FA5782}" dt="2024-02-27T11:00:43.101" v="7" actId="1076"/>
      <pc:docMkLst>
        <pc:docMk/>
      </pc:docMkLst>
      <pc:sldChg chg="modSp mod">
        <pc:chgData name="von Tschammer, Arne (Allianz Kunde und Markt)" userId="052f4853-5977-4a42-acc0-739442858c30" providerId="ADAL" clId="{2187FAC5-4C4D-4D9D-8273-3BEC47FA5782}" dt="2024-02-27T11:00:43.101" v="7" actId="1076"/>
        <pc:sldMkLst>
          <pc:docMk/>
          <pc:sldMk cId="2241849153" sldId="351"/>
        </pc:sldMkLst>
        <pc:picChg chg="mod">
          <ac:chgData name="von Tschammer, Arne (Allianz Kunde und Markt)" userId="052f4853-5977-4a42-acc0-739442858c30" providerId="ADAL" clId="{2187FAC5-4C4D-4D9D-8273-3BEC47FA5782}" dt="2024-02-27T11:00:43.101" v="7" actId="1076"/>
          <ac:picMkLst>
            <pc:docMk/>
            <pc:sldMk cId="2241849153" sldId="351"/>
            <ac:picMk id="5" creationId="{00000000-0000-0000-0000-000000000000}"/>
          </ac:picMkLst>
        </pc:picChg>
      </pc:sldChg>
    </pc:docChg>
  </pc:docChgLst>
  <pc:docChgLst>
    <pc:chgData name="Weigel, Bastian (Allianz Kunde und Markt, externer Mitarbeiter)" userId="0ad864cf-8370-4089-9c66-3debd4f40f73" providerId="ADAL" clId="{5DCA1C93-87DB-4CCC-99FE-DCF5A7666FB9}"/>
    <pc:docChg chg="undo custSel modSld">
      <pc:chgData name="Weigel, Bastian (Allianz Kunde und Markt, externer Mitarbeiter)" userId="0ad864cf-8370-4089-9c66-3debd4f40f73" providerId="ADAL" clId="{5DCA1C93-87DB-4CCC-99FE-DCF5A7666FB9}" dt="2024-04-25T07:48:16.734" v="271" actId="1076"/>
      <pc:docMkLst>
        <pc:docMk/>
      </pc:docMkLst>
      <pc:sldChg chg="addSp delSp modSp mod">
        <pc:chgData name="Weigel, Bastian (Allianz Kunde und Markt, externer Mitarbeiter)" userId="0ad864cf-8370-4089-9c66-3debd4f40f73" providerId="ADAL" clId="{5DCA1C93-87DB-4CCC-99FE-DCF5A7666FB9}" dt="2024-04-25T07:48:16.734" v="271" actId="1076"/>
        <pc:sldMkLst>
          <pc:docMk/>
          <pc:sldMk cId="3710801663" sldId="398"/>
        </pc:sldMkLst>
        <pc:spChg chg="mod">
          <ac:chgData name="Weigel, Bastian (Allianz Kunde und Markt, externer Mitarbeiter)" userId="0ad864cf-8370-4089-9c66-3debd4f40f73" providerId="ADAL" clId="{5DCA1C93-87DB-4CCC-99FE-DCF5A7666FB9}" dt="2024-04-25T07:33:37.961" v="24" actId="14100"/>
          <ac:spMkLst>
            <pc:docMk/>
            <pc:sldMk cId="3710801663" sldId="398"/>
            <ac:spMk id="2" creationId="{00000000-0000-0000-0000-000000000000}"/>
          </ac:spMkLst>
        </pc:spChg>
        <pc:spChg chg="add del mod">
          <ac:chgData name="Weigel, Bastian (Allianz Kunde und Markt, externer Mitarbeiter)" userId="0ad864cf-8370-4089-9c66-3debd4f40f73" providerId="ADAL" clId="{5DCA1C93-87DB-4CCC-99FE-DCF5A7666FB9}" dt="2024-04-25T07:46:37.268" v="245" actId="478"/>
          <ac:spMkLst>
            <pc:docMk/>
            <pc:sldMk cId="3710801663" sldId="398"/>
            <ac:spMk id="3" creationId="{2AAB53EC-8E9C-D3C0-7DFF-912845245960}"/>
          </ac:spMkLst>
        </pc:spChg>
        <pc:spChg chg="add mod">
          <ac:chgData name="Weigel, Bastian (Allianz Kunde und Markt, externer Mitarbeiter)" userId="0ad864cf-8370-4089-9c66-3debd4f40f73" providerId="ADAL" clId="{5DCA1C93-87DB-4CCC-99FE-DCF5A7666FB9}" dt="2024-04-25T07:45:06.037" v="204" actId="20577"/>
          <ac:spMkLst>
            <pc:docMk/>
            <pc:sldMk cId="3710801663" sldId="398"/>
            <ac:spMk id="4" creationId="{534A01B4-CEE8-3594-81F7-8668C238245E}"/>
          </ac:spMkLst>
        </pc:spChg>
        <pc:spChg chg="mod">
          <ac:chgData name="Weigel, Bastian (Allianz Kunde und Markt, externer Mitarbeiter)" userId="0ad864cf-8370-4089-9c66-3debd4f40f73" providerId="ADAL" clId="{5DCA1C93-87DB-4CCC-99FE-DCF5A7666FB9}" dt="2024-04-25T07:42:33.151" v="169" actId="1038"/>
          <ac:spMkLst>
            <pc:docMk/>
            <pc:sldMk cId="3710801663" sldId="398"/>
            <ac:spMk id="6" creationId="{00000000-0000-0000-0000-000000000000}"/>
          </ac:spMkLst>
        </pc:spChg>
        <pc:spChg chg="mod">
          <ac:chgData name="Weigel, Bastian (Allianz Kunde und Markt, externer Mitarbeiter)" userId="0ad864cf-8370-4089-9c66-3debd4f40f73" providerId="ADAL" clId="{5DCA1C93-87DB-4CCC-99FE-DCF5A7666FB9}" dt="2024-04-25T07:44:44.366" v="187" actId="14100"/>
          <ac:spMkLst>
            <pc:docMk/>
            <pc:sldMk cId="3710801663" sldId="398"/>
            <ac:spMk id="8" creationId="{8264245F-20F2-8013-F02A-D37694CDD0DB}"/>
          </ac:spMkLst>
        </pc:spChg>
        <pc:spChg chg="mod">
          <ac:chgData name="Weigel, Bastian (Allianz Kunde und Markt, externer Mitarbeiter)" userId="0ad864cf-8370-4089-9c66-3debd4f40f73" providerId="ADAL" clId="{5DCA1C93-87DB-4CCC-99FE-DCF5A7666FB9}" dt="2024-04-25T07:44:44.366" v="187" actId="14100"/>
          <ac:spMkLst>
            <pc:docMk/>
            <pc:sldMk cId="3710801663" sldId="398"/>
            <ac:spMk id="9" creationId="{34FB306E-C67F-51EC-E1D0-41D40BAE7462}"/>
          </ac:spMkLst>
        </pc:spChg>
        <pc:spChg chg="mod">
          <ac:chgData name="Weigel, Bastian (Allianz Kunde und Markt, externer Mitarbeiter)" userId="0ad864cf-8370-4089-9c66-3debd4f40f73" providerId="ADAL" clId="{5DCA1C93-87DB-4CCC-99FE-DCF5A7666FB9}" dt="2024-04-25T07:44:44.366" v="187" actId="14100"/>
          <ac:spMkLst>
            <pc:docMk/>
            <pc:sldMk cId="3710801663" sldId="398"/>
            <ac:spMk id="10" creationId="{A988E78D-7056-2F23-178F-5EBA264555CD}"/>
          </ac:spMkLst>
        </pc:spChg>
        <pc:spChg chg="del">
          <ac:chgData name="Weigel, Bastian (Allianz Kunde und Markt, externer Mitarbeiter)" userId="0ad864cf-8370-4089-9c66-3debd4f40f73" providerId="ADAL" clId="{5DCA1C93-87DB-4CCC-99FE-DCF5A7666FB9}" dt="2024-04-25T07:44:10.289" v="178" actId="478"/>
          <ac:spMkLst>
            <pc:docMk/>
            <pc:sldMk cId="3710801663" sldId="398"/>
            <ac:spMk id="20" creationId="{00000000-0000-0000-0000-000000000000}"/>
          </ac:spMkLst>
        </pc:spChg>
        <pc:spChg chg="mod">
          <ac:chgData name="Weigel, Bastian (Allianz Kunde und Markt, externer Mitarbeiter)" userId="0ad864cf-8370-4089-9c66-3debd4f40f73" providerId="ADAL" clId="{5DCA1C93-87DB-4CCC-99FE-DCF5A7666FB9}" dt="2024-04-25T07:42:03.837" v="126" actId="14100"/>
          <ac:spMkLst>
            <pc:docMk/>
            <pc:sldMk cId="3710801663" sldId="398"/>
            <ac:spMk id="29" creationId="{EFEA0999-7791-4F4B-8AB8-C15542F07BB4}"/>
          </ac:spMkLst>
        </pc:spChg>
        <pc:spChg chg="mod">
          <ac:chgData name="Weigel, Bastian (Allianz Kunde und Markt, externer Mitarbeiter)" userId="0ad864cf-8370-4089-9c66-3debd4f40f73" providerId="ADAL" clId="{5DCA1C93-87DB-4CCC-99FE-DCF5A7666FB9}" dt="2024-04-25T07:42:48.983" v="174" actId="113"/>
          <ac:spMkLst>
            <pc:docMk/>
            <pc:sldMk cId="3710801663" sldId="398"/>
            <ac:spMk id="38" creationId="{94A50F62-43F7-D9D4-5E26-0091567DE861}"/>
          </ac:spMkLst>
        </pc:spChg>
        <pc:spChg chg="mod">
          <ac:chgData name="Weigel, Bastian (Allianz Kunde und Markt, externer Mitarbeiter)" userId="0ad864cf-8370-4089-9c66-3debd4f40f73" providerId="ADAL" clId="{5DCA1C93-87DB-4CCC-99FE-DCF5A7666FB9}" dt="2024-04-25T07:33:33.271" v="23" actId="1076"/>
          <ac:spMkLst>
            <pc:docMk/>
            <pc:sldMk cId="3710801663" sldId="398"/>
            <ac:spMk id="44" creationId="{00000000-0000-0000-0000-000000000000}"/>
          </ac:spMkLst>
        </pc:spChg>
        <pc:spChg chg="mod">
          <ac:chgData name="Weigel, Bastian (Allianz Kunde und Markt, externer Mitarbeiter)" userId="0ad864cf-8370-4089-9c66-3debd4f40f73" providerId="ADAL" clId="{5DCA1C93-87DB-4CCC-99FE-DCF5A7666FB9}" dt="2024-04-25T07:47:30.761" v="268" actId="1038"/>
          <ac:spMkLst>
            <pc:docMk/>
            <pc:sldMk cId="3710801663" sldId="398"/>
            <ac:spMk id="50" creationId="{00000000-0000-0000-0000-000000000000}"/>
          </ac:spMkLst>
        </pc:spChg>
        <pc:spChg chg="mod">
          <ac:chgData name="Weigel, Bastian (Allianz Kunde und Markt, externer Mitarbeiter)" userId="0ad864cf-8370-4089-9c66-3debd4f40f73" providerId="ADAL" clId="{5DCA1C93-87DB-4CCC-99FE-DCF5A7666FB9}" dt="2024-04-25T07:44:07.522" v="177" actId="14100"/>
          <ac:spMkLst>
            <pc:docMk/>
            <pc:sldMk cId="3710801663" sldId="398"/>
            <ac:spMk id="51" creationId="{00000000-0000-0000-0000-000000000000}"/>
          </ac:spMkLst>
        </pc:spChg>
        <pc:spChg chg="mod">
          <ac:chgData name="Weigel, Bastian (Allianz Kunde und Markt, externer Mitarbeiter)" userId="0ad864cf-8370-4089-9c66-3debd4f40f73" providerId="ADAL" clId="{5DCA1C93-87DB-4CCC-99FE-DCF5A7666FB9}" dt="2024-04-25T07:33:45.191" v="25" actId="1035"/>
          <ac:spMkLst>
            <pc:docMk/>
            <pc:sldMk cId="3710801663" sldId="398"/>
            <ac:spMk id="53" creationId="{1EEFF0BF-12ED-8DDF-67E8-E69CC727977D}"/>
          </ac:spMkLst>
        </pc:spChg>
        <pc:spChg chg="mod">
          <ac:chgData name="Weigel, Bastian (Allianz Kunde und Markt, externer Mitarbeiter)" userId="0ad864cf-8370-4089-9c66-3debd4f40f73" providerId="ADAL" clId="{5DCA1C93-87DB-4CCC-99FE-DCF5A7666FB9}" dt="2024-04-25T07:33:45.191" v="25" actId="1035"/>
          <ac:spMkLst>
            <pc:docMk/>
            <pc:sldMk cId="3710801663" sldId="398"/>
            <ac:spMk id="54" creationId="{3B45C601-ECFE-82E9-4E68-20FD8AD81B04}"/>
          </ac:spMkLst>
        </pc:spChg>
        <pc:spChg chg="mod">
          <ac:chgData name="Weigel, Bastian (Allianz Kunde und Markt, externer Mitarbeiter)" userId="0ad864cf-8370-4089-9c66-3debd4f40f73" providerId="ADAL" clId="{5DCA1C93-87DB-4CCC-99FE-DCF5A7666FB9}" dt="2024-04-25T07:33:45.191" v="25" actId="1035"/>
          <ac:spMkLst>
            <pc:docMk/>
            <pc:sldMk cId="3710801663" sldId="398"/>
            <ac:spMk id="55" creationId="{3AAAAAF2-CBC4-D69A-FF1F-4A7953235EF0}"/>
          </ac:spMkLst>
        </pc:spChg>
        <pc:spChg chg="mod">
          <ac:chgData name="Weigel, Bastian (Allianz Kunde und Markt, externer Mitarbeiter)" userId="0ad864cf-8370-4089-9c66-3debd4f40f73" providerId="ADAL" clId="{5DCA1C93-87DB-4CCC-99FE-DCF5A7666FB9}" dt="2024-04-25T07:41:17.040" v="102" actId="552"/>
          <ac:spMkLst>
            <pc:docMk/>
            <pc:sldMk cId="3710801663" sldId="398"/>
            <ac:spMk id="56" creationId="{3FE4E204-2890-9F9B-D023-3C17AFEF0E85}"/>
          </ac:spMkLst>
        </pc:spChg>
        <pc:spChg chg="mod">
          <ac:chgData name="Weigel, Bastian (Allianz Kunde und Markt, externer Mitarbeiter)" userId="0ad864cf-8370-4089-9c66-3debd4f40f73" providerId="ADAL" clId="{5DCA1C93-87DB-4CCC-99FE-DCF5A7666FB9}" dt="2024-04-25T07:41:17.040" v="102" actId="552"/>
          <ac:spMkLst>
            <pc:docMk/>
            <pc:sldMk cId="3710801663" sldId="398"/>
            <ac:spMk id="57" creationId="{6128B5AA-3BAD-E855-2C81-49253FCFC223}"/>
          </ac:spMkLst>
        </pc:spChg>
        <pc:spChg chg="mod">
          <ac:chgData name="Weigel, Bastian (Allianz Kunde und Markt, externer Mitarbeiter)" userId="0ad864cf-8370-4089-9c66-3debd4f40f73" providerId="ADAL" clId="{5DCA1C93-87DB-4CCC-99FE-DCF5A7666FB9}" dt="2024-04-25T07:41:17.040" v="102" actId="552"/>
          <ac:spMkLst>
            <pc:docMk/>
            <pc:sldMk cId="3710801663" sldId="398"/>
            <ac:spMk id="58" creationId="{94A50F62-43F7-D9D4-5E26-0091567DE861}"/>
          </ac:spMkLst>
        </pc:spChg>
        <pc:spChg chg="ord">
          <ac:chgData name="Weigel, Bastian (Allianz Kunde und Markt, externer Mitarbeiter)" userId="0ad864cf-8370-4089-9c66-3debd4f40f73" providerId="ADAL" clId="{5DCA1C93-87DB-4CCC-99FE-DCF5A7666FB9}" dt="2024-04-25T07:47:48.143" v="269" actId="166"/>
          <ac:spMkLst>
            <pc:docMk/>
            <pc:sldMk cId="3710801663" sldId="398"/>
            <ac:spMk id="68" creationId="{1E85E34B-22E1-42B6-94A7-0885707F4F6B}"/>
          </ac:spMkLst>
        </pc:spChg>
        <pc:spChg chg="mod">
          <ac:chgData name="Weigel, Bastian (Allianz Kunde und Markt, externer Mitarbeiter)" userId="0ad864cf-8370-4089-9c66-3debd4f40f73" providerId="ADAL" clId="{5DCA1C93-87DB-4CCC-99FE-DCF5A7666FB9}" dt="2024-04-25T07:47:11.661" v="267" actId="552"/>
          <ac:spMkLst>
            <pc:docMk/>
            <pc:sldMk cId="3710801663" sldId="398"/>
            <ac:spMk id="72" creationId="{76D7790B-A202-4199-8889-C7B7D6A8B07F}"/>
          </ac:spMkLst>
        </pc:spChg>
        <pc:grpChg chg="add mod">
          <ac:chgData name="Weigel, Bastian (Allianz Kunde und Markt, externer Mitarbeiter)" userId="0ad864cf-8370-4089-9c66-3debd4f40f73" providerId="ADAL" clId="{5DCA1C93-87DB-4CCC-99FE-DCF5A7666FB9}" dt="2024-04-25T07:44:44.366" v="187" actId="14100"/>
          <ac:grpSpMkLst>
            <pc:docMk/>
            <pc:sldMk cId="3710801663" sldId="398"/>
            <ac:grpSpMk id="5" creationId="{9A7DEB32-DD88-7E83-B604-2A587DEB7FC2}"/>
          </ac:grpSpMkLst>
        </pc:grpChg>
        <pc:grpChg chg="del">
          <ac:chgData name="Weigel, Bastian (Allianz Kunde und Markt, externer Mitarbeiter)" userId="0ad864cf-8370-4089-9c66-3debd4f40f73" providerId="ADAL" clId="{5DCA1C93-87DB-4CCC-99FE-DCF5A7666FB9}" dt="2024-04-25T07:44:02.076" v="175" actId="478"/>
          <ac:grpSpMkLst>
            <pc:docMk/>
            <pc:sldMk cId="3710801663" sldId="398"/>
            <ac:grpSpMk id="24" creationId="{00000000-0000-0000-0000-000000000000}"/>
          </ac:grpSpMkLst>
        </pc:grpChg>
        <pc:grpChg chg="mod">
          <ac:chgData name="Weigel, Bastian (Allianz Kunde und Markt, externer Mitarbeiter)" userId="0ad864cf-8370-4089-9c66-3debd4f40f73" providerId="ADAL" clId="{5DCA1C93-87DB-4CCC-99FE-DCF5A7666FB9}" dt="2024-04-25T07:33:45.191" v="25" actId="1035"/>
          <ac:grpSpMkLst>
            <pc:docMk/>
            <pc:sldMk cId="3710801663" sldId="398"/>
            <ac:grpSpMk id="52" creationId="{49A935D4-FA13-1774-F18D-3566D218E07F}"/>
          </ac:grpSpMkLst>
        </pc:grpChg>
        <pc:graphicFrameChg chg="mod modGraphic">
          <ac:chgData name="Weigel, Bastian (Allianz Kunde und Markt, externer Mitarbeiter)" userId="0ad864cf-8370-4089-9c66-3debd4f40f73" providerId="ADAL" clId="{5DCA1C93-87DB-4CCC-99FE-DCF5A7666FB9}" dt="2024-04-25T07:47:11.661" v="267" actId="552"/>
          <ac:graphicFrameMkLst>
            <pc:docMk/>
            <pc:sldMk cId="3710801663" sldId="398"/>
            <ac:graphicFrameMk id="7" creationId="{00000000-0000-0000-0000-000000000000}"/>
          </ac:graphicFrameMkLst>
        </pc:graphicFrameChg>
        <pc:graphicFrameChg chg="add mod modGraphic">
          <ac:chgData name="Weigel, Bastian (Allianz Kunde und Markt, externer Mitarbeiter)" userId="0ad864cf-8370-4089-9c66-3debd4f40f73" providerId="ADAL" clId="{5DCA1C93-87DB-4CCC-99FE-DCF5A7666FB9}" dt="2024-04-25T07:47:02.897" v="266" actId="552"/>
          <ac:graphicFrameMkLst>
            <pc:docMk/>
            <pc:sldMk cId="3710801663" sldId="398"/>
            <ac:graphicFrameMk id="11" creationId="{C6A88ECA-38AE-7E0C-FB52-ED6C39ACF95A}"/>
          </ac:graphicFrameMkLst>
        </pc:graphicFrameChg>
        <pc:picChg chg="mod">
          <ac:chgData name="Weigel, Bastian (Allianz Kunde und Markt, externer Mitarbeiter)" userId="0ad864cf-8370-4089-9c66-3debd4f40f73" providerId="ADAL" clId="{5DCA1C93-87DB-4CCC-99FE-DCF5A7666FB9}" dt="2024-04-25T07:48:16.734" v="271" actId="1076"/>
          <ac:picMkLst>
            <pc:docMk/>
            <pc:sldMk cId="3710801663" sldId="398"/>
            <ac:picMk id="40" creationId="{00000000-0000-0000-0000-000000000000}"/>
          </ac:picMkLst>
        </pc:picChg>
        <pc:picChg chg="del">
          <ac:chgData name="Weigel, Bastian (Allianz Kunde und Markt, externer Mitarbeiter)" userId="0ad864cf-8370-4089-9c66-3debd4f40f73" providerId="ADAL" clId="{5DCA1C93-87DB-4CCC-99FE-DCF5A7666FB9}" dt="2024-04-25T07:48:12.750" v="270" actId="478"/>
          <ac:picMkLst>
            <pc:docMk/>
            <pc:sldMk cId="3710801663" sldId="398"/>
            <ac:picMk id="41" creationId="{00000000-0000-0000-0000-000000000000}"/>
          </ac:picMkLst>
        </pc:picChg>
        <pc:cxnChg chg="del">
          <ac:chgData name="Weigel, Bastian (Allianz Kunde und Markt, externer Mitarbeiter)" userId="0ad864cf-8370-4089-9c66-3debd4f40f73" providerId="ADAL" clId="{5DCA1C93-87DB-4CCC-99FE-DCF5A7666FB9}" dt="2024-04-25T07:44:03.446" v="176" actId="478"/>
          <ac:cxnSpMkLst>
            <pc:docMk/>
            <pc:sldMk cId="3710801663" sldId="398"/>
            <ac:cxnSpMk id="28" creationId="{00000000-0000-0000-0000-000000000000}"/>
          </ac:cxnSpMkLst>
        </pc:cxnChg>
      </pc:sldChg>
    </pc:docChg>
  </pc:docChgLst>
  <pc:docChgLst>
    <pc:chgData name="Everts, Susanne (Allianz Kunde und Markt)" userId="e35a5471-d092-49fe-8ba2-1b95fa53cb5e" providerId="ADAL" clId="{B13DD467-9F73-4C5C-BBCE-5503AC5156DE}"/>
    <pc:docChg chg="modSld">
      <pc:chgData name="Everts, Susanne (Allianz Kunde und Markt)" userId="e35a5471-d092-49fe-8ba2-1b95fa53cb5e" providerId="ADAL" clId="{B13DD467-9F73-4C5C-BBCE-5503AC5156DE}" dt="2024-05-14T06:19:45.466" v="14" actId="20577"/>
      <pc:docMkLst>
        <pc:docMk/>
      </pc:docMkLst>
      <pc:sldChg chg="modSp mod">
        <pc:chgData name="Everts, Susanne (Allianz Kunde und Markt)" userId="e35a5471-d092-49fe-8ba2-1b95fa53cb5e" providerId="ADAL" clId="{B13DD467-9F73-4C5C-BBCE-5503AC5156DE}" dt="2024-05-14T06:19:45.466" v="14" actId="20577"/>
        <pc:sldMkLst>
          <pc:docMk/>
          <pc:sldMk cId="433443105" sldId="354"/>
        </pc:sldMkLst>
        <pc:spChg chg="mod">
          <ac:chgData name="Everts, Susanne (Allianz Kunde und Markt)" userId="e35a5471-d092-49fe-8ba2-1b95fa53cb5e" providerId="ADAL" clId="{B13DD467-9F73-4C5C-BBCE-5503AC5156DE}" dt="2024-05-14T06:19:45.466" v="14" actId="20577"/>
          <ac:spMkLst>
            <pc:docMk/>
            <pc:sldMk cId="433443105" sldId="354"/>
            <ac:spMk id="107" creationId="{99DCD131-CA70-CCDD-400C-94C5144322AD}"/>
          </ac:spMkLst>
        </pc:spChg>
      </pc:sldChg>
    </pc:docChg>
  </pc:docChgLst>
  <pc:docChgLst>
    <pc:chgData name="Weigel, Bastian (Allianz Kunde und Markt, externer Mitarbeiter)" userId="0ad864cf-8370-4089-9c66-3debd4f40f73" providerId="ADAL" clId="{4CF596C7-B513-4728-8E42-09ABC04C9868}"/>
    <pc:docChg chg="undo custSel modSld">
      <pc:chgData name="Weigel, Bastian (Allianz Kunde und Markt, externer Mitarbeiter)" userId="0ad864cf-8370-4089-9c66-3debd4f40f73" providerId="ADAL" clId="{4CF596C7-B513-4728-8E42-09ABC04C9868}" dt="2024-04-24T11:06:51.292" v="28" actId="20577"/>
      <pc:docMkLst>
        <pc:docMk/>
      </pc:docMkLst>
      <pc:sldChg chg="addSp delSp modSp mod">
        <pc:chgData name="Weigel, Bastian (Allianz Kunde und Markt, externer Mitarbeiter)" userId="0ad864cf-8370-4089-9c66-3debd4f40f73" providerId="ADAL" clId="{4CF596C7-B513-4728-8E42-09ABC04C9868}" dt="2024-04-24T11:06:51.292" v="28" actId="20577"/>
        <pc:sldMkLst>
          <pc:docMk/>
          <pc:sldMk cId="3710801663" sldId="398"/>
        </pc:sldMkLst>
        <pc:spChg chg="add del mod ord">
          <ac:chgData name="Weigel, Bastian (Allianz Kunde und Markt, externer Mitarbeiter)" userId="0ad864cf-8370-4089-9c66-3debd4f40f73" providerId="ADAL" clId="{4CF596C7-B513-4728-8E42-09ABC04C9868}" dt="2024-04-24T11:06:38.190" v="4"/>
          <ac:spMkLst>
            <pc:docMk/>
            <pc:sldMk cId="3710801663" sldId="398"/>
            <ac:spMk id="3" creationId="{DF0F848E-7519-1205-6DEF-77A7E36673D1}"/>
          </ac:spMkLst>
        </pc:spChg>
        <pc:spChg chg="add del mod">
          <ac:chgData name="Weigel, Bastian (Allianz Kunde und Markt, externer Mitarbeiter)" userId="0ad864cf-8370-4089-9c66-3debd4f40f73" providerId="ADAL" clId="{4CF596C7-B513-4728-8E42-09ABC04C9868}" dt="2024-04-24T11:06:51.292" v="28" actId="20577"/>
          <ac:spMkLst>
            <pc:docMk/>
            <pc:sldMk cId="3710801663" sldId="398"/>
            <ac:spMk id="68" creationId="{1E85E34B-22E1-42B6-94A7-0885707F4F6B}"/>
          </ac:spMkLst>
        </pc:spChg>
      </pc:sldChg>
    </pc:docChg>
  </pc:docChgLst>
  <pc:docChgLst>
    <pc:chgData name="Everts, Susanne (Allianz Kunde und Markt)" userId="e35a5471-d092-49fe-8ba2-1b95fa53cb5e" providerId="ADAL" clId="{10B229AE-A21E-4D70-9D90-AA714D52E1E7}"/>
    <pc:docChg chg="custSel modSld">
      <pc:chgData name="Everts, Susanne (Allianz Kunde und Markt)" userId="e35a5471-d092-49fe-8ba2-1b95fa53cb5e" providerId="ADAL" clId="{10B229AE-A21E-4D70-9D90-AA714D52E1E7}" dt="2024-04-30T15:20:29.536" v="4" actId="931"/>
      <pc:docMkLst>
        <pc:docMk/>
      </pc:docMkLst>
      <pc:sldChg chg="addSp delSp modSp mod">
        <pc:chgData name="Everts, Susanne (Allianz Kunde und Markt)" userId="e35a5471-d092-49fe-8ba2-1b95fa53cb5e" providerId="ADAL" clId="{10B229AE-A21E-4D70-9D90-AA714D52E1E7}" dt="2024-04-30T15:20:29.536" v="4" actId="931"/>
        <pc:sldMkLst>
          <pc:docMk/>
          <pc:sldMk cId="4186412487" sldId="325"/>
        </pc:sldMkLst>
        <pc:spChg chg="del">
          <ac:chgData name="Everts, Susanne (Allianz Kunde und Markt)" userId="e35a5471-d092-49fe-8ba2-1b95fa53cb5e" providerId="ADAL" clId="{10B229AE-A21E-4D70-9D90-AA714D52E1E7}" dt="2024-04-30T14:48:22.834" v="0" actId="931"/>
          <ac:spMkLst>
            <pc:docMk/>
            <pc:sldMk cId="4186412487" sldId="325"/>
            <ac:spMk id="6" creationId="{1D04901D-8DC4-BABC-3B00-8BFBF04D85D5}"/>
          </ac:spMkLst>
        </pc:spChg>
        <pc:spChg chg="add del mod">
          <ac:chgData name="Everts, Susanne (Allianz Kunde und Markt)" userId="e35a5471-d092-49fe-8ba2-1b95fa53cb5e" providerId="ADAL" clId="{10B229AE-A21E-4D70-9D90-AA714D52E1E7}" dt="2024-04-30T15:20:29.536" v="4" actId="931"/>
          <ac:spMkLst>
            <pc:docMk/>
            <pc:sldMk cId="4186412487" sldId="325"/>
            <ac:spMk id="6" creationId="{B0CB847A-0972-84B6-08FD-3E0EE33A6B29}"/>
          </ac:spMkLst>
        </pc:spChg>
        <pc:picChg chg="add del mod">
          <ac:chgData name="Everts, Susanne (Allianz Kunde und Markt)" userId="e35a5471-d092-49fe-8ba2-1b95fa53cb5e" providerId="ADAL" clId="{10B229AE-A21E-4D70-9D90-AA714D52E1E7}" dt="2024-04-30T15:20:25.233" v="3" actId="478"/>
          <ac:picMkLst>
            <pc:docMk/>
            <pc:sldMk cId="4186412487" sldId="325"/>
            <ac:picMk id="3" creationId="{B5E70FB4-743F-85FA-7756-1913E96C5D76}"/>
          </ac:picMkLst>
        </pc:picChg>
        <pc:picChg chg="add del mod">
          <ac:chgData name="Everts, Susanne (Allianz Kunde und Markt)" userId="e35a5471-d092-49fe-8ba2-1b95fa53cb5e" providerId="ADAL" clId="{10B229AE-A21E-4D70-9D90-AA714D52E1E7}" dt="2024-04-30T15:20:23.809" v="2" actId="931"/>
          <ac:picMkLst>
            <pc:docMk/>
            <pc:sldMk cId="4186412487" sldId="325"/>
            <ac:picMk id="4" creationId="{5CED4F4B-6E0B-F665-419F-B0C7C44EAAE6}"/>
          </ac:picMkLst>
        </pc:picChg>
        <pc:picChg chg="add mod">
          <ac:chgData name="Everts, Susanne (Allianz Kunde und Markt)" userId="e35a5471-d092-49fe-8ba2-1b95fa53cb5e" providerId="ADAL" clId="{10B229AE-A21E-4D70-9D90-AA714D52E1E7}" dt="2024-04-30T15:20:29.536" v="4" actId="931"/>
          <ac:picMkLst>
            <pc:docMk/>
            <pc:sldMk cId="4186412487" sldId="325"/>
            <ac:picMk id="10" creationId="{6E6A850F-4280-8046-1664-CCB10FE55972}"/>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17.05.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r.›</a:t>
            </a:fld>
            <a:endParaRPr lang="de-DE"/>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589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
        <p:nvSpPr>
          <p:cNvPr id="4" name="Foliennummernplatzhalter 3"/>
          <p:cNvSpPr>
            <a:spLocks noGrp="1"/>
          </p:cNvSpPr>
          <p:nvPr>
            <p:ph type="sldNum" sz="quarter" idx="10"/>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0669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49504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99192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0973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10814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651500" y="0"/>
            <a:ext cx="5868988"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3" y="1799999"/>
            <a:ext cx="5075237" cy="2268000"/>
          </a:xfrm>
        </p:spPr>
        <p:txBody>
          <a:bodyPr rIns="216000" anchor="ctr" anchorCtr="0"/>
          <a:lstStyle>
            <a:lvl1pPr algn="l">
              <a:lnSpc>
                <a:spcPct val="80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3" y="4536000"/>
            <a:ext cx="5075237" cy="531099"/>
          </a:xfrm>
        </p:spPr>
        <p:txBody>
          <a:bodyPr rIns="216000"/>
          <a:lstStyle>
            <a:lvl1pPr marL="0" indent="0" algn="l">
              <a:buNone/>
              <a:defRPr sz="15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750"/>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750"/>
            </a:lvl1pPr>
          </a:lstStyle>
          <a:p>
            <a:pPr lvl="0"/>
            <a:r>
              <a:rPr lang="de-DE"/>
              <a:t>Erste Ebene</a:t>
            </a:r>
          </a:p>
        </p:txBody>
      </p:sp>
    </p:spTree>
    <p:extLst>
      <p:ext uri="{BB962C8B-B14F-4D97-AF65-F5344CB8AC3E}">
        <p14:creationId xmlns:p14="http://schemas.microsoft.com/office/powerpoint/2010/main" val="26363165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Z Keyvisua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0"/>
            <a:ext cx="11520488" cy="6480175"/>
          </a:xfrm>
          <a:solidFill>
            <a:schemeClr val="bg2"/>
          </a:solidFill>
        </p:spPr>
        <p:txBody>
          <a:bodyPr/>
          <a:lstStyle>
            <a:lvl1pPr>
              <a:defRPr>
                <a:solidFill>
                  <a:schemeClr val="tx1"/>
                </a:solidFill>
              </a:defRPr>
            </a:lvl1pPr>
          </a:lstStyle>
          <a:p>
            <a:endParaRPr lang="de-DE"/>
          </a:p>
        </p:txBody>
      </p:sp>
      <p:sp>
        <p:nvSpPr>
          <p:cNvPr id="3" name="Datumsplatzhalter 2">
            <a:extLst>
              <a:ext uri="{FF2B5EF4-FFF2-40B4-BE49-F238E27FC236}">
                <a16:creationId xmlns:a16="http://schemas.microsoft.com/office/drawing/2014/main" id="{22F37F0F-CC12-4317-9811-C30269EDD386}"/>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5" name="Foliennummernplatzhalter 4">
            <a:extLst>
              <a:ext uri="{FF2B5EF4-FFF2-40B4-BE49-F238E27FC236}">
                <a16:creationId xmlns:a16="http://schemas.microsoft.com/office/drawing/2014/main" id="{A69577E3-FEC7-432A-BEA6-FED227457CE8}"/>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988000" y="3528000"/>
            <a:ext cx="5544000" cy="2125088"/>
          </a:xfrm>
        </p:spPr>
        <p:txBody>
          <a:bodyPr/>
          <a:lstStyle>
            <a:lvl1pPr>
              <a:lnSpc>
                <a:spcPct val="80000"/>
              </a:lnSpc>
              <a:defRPr sz="4700">
                <a:solidFill>
                  <a:schemeClr val="tx1"/>
                </a:solidFill>
              </a:defRPr>
            </a:lvl1pPr>
            <a:lvl2pPr algn="r">
              <a:lnSpc>
                <a:spcPct val="80000"/>
              </a:lnSpc>
              <a:defRPr sz="47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Tree>
    <p:extLst>
      <p:ext uri="{BB962C8B-B14F-4D97-AF65-F5344CB8AC3E}">
        <p14:creationId xmlns:p14="http://schemas.microsoft.com/office/powerpoint/2010/main" val="1552637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0"/>
            <a:ext cx="12096000" cy="3384549"/>
          </a:xfrm>
        </p:spPr>
        <p:txBody>
          <a:bodyPr rIns="216000"/>
          <a:lstStyle>
            <a:lvl1pPr marL="0" indent="0" algn="l">
              <a:lnSpc>
                <a:spcPct val="80000"/>
              </a:lnSpc>
              <a:buNone/>
              <a:defRPr sz="189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8" name="Grafik 7">
            <a:extLst>
              <a:ext uri="{FF2B5EF4-FFF2-40B4-BE49-F238E27FC236}">
                <a16:creationId xmlns:a16="http://schemas.microsoft.com/office/drawing/2014/main" id="{461BDC56-BD94-4C43-90E8-CBB9A53F269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237769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Z Chapter Divider2">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4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6" name="Grafik 5">
            <a:extLst>
              <a:ext uri="{FF2B5EF4-FFF2-40B4-BE49-F238E27FC236}">
                <a16:creationId xmlns:a16="http://schemas.microsoft.com/office/drawing/2014/main" id="{D030324D-388D-4C97-AE26-194C8D2A9E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130070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Z Chapter Divider3">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4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5" name="Grafik 4">
            <a:extLst>
              <a:ext uri="{FF2B5EF4-FFF2-40B4-BE49-F238E27FC236}">
                <a16:creationId xmlns:a16="http://schemas.microsoft.com/office/drawing/2014/main" id="{0CFDCE14-724D-49F7-8BAD-435E832695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40487655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8"/>
            <a:ext cx="3313112"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0" y="2268000"/>
            <a:ext cx="3311525"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imple Content one wide Column">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E58CF048-5364-F343-A6A5-A500152737DA}"/>
              </a:ext>
            </a:extLst>
          </p:cNvPr>
          <p:cNvSpPr/>
          <p:nvPr userDrawn="1"/>
        </p:nvSpPr>
        <p:spPr>
          <a:xfrm>
            <a:off x="0" y="1"/>
            <a:ext cx="8174347" cy="725852"/>
          </a:xfrm>
          <a:prstGeom prst="rect">
            <a:avLst/>
          </a:prstGeom>
          <a:solidFill>
            <a:schemeClr val="tx2">
              <a:lumMod val="20000"/>
              <a:lumOff val="80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algn="l">
              <a:spcBef>
                <a:spcPts val="94"/>
              </a:spcBef>
              <a:spcAft>
                <a:spcPts val="94"/>
              </a:spcAft>
            </a:pPr>
            <a:endParaRPr lang="de-DE" sz="1323"/>
          </a:p>
        </p:txBody>
      </p:sp>
      <p:sp>
        <p:nvSpPr>
          <p:cNvPr id="7" name="Freeform 54"/>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4" tIns="57586" rIns="115174" bIns="57586" numCol="1" anchor="t" anchorCtr="0" compatLnSpc="1">
            <a:prstTxWarp prst="textNoShape">
              <a:avLst/>
            </a:prstTxWarp>
          </a:bodyPr>
          <a:lstStyle/>
          <a:p>
            <a:pPr marL="0" marR="0" lvl="0" indent="0" defTabSz="1151750"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480017" y="1445705"/>
            <a:ext cx="10572390" cy="4572458"/>
          </a:xfrm>
          <a:prstGeom prst="rect">
            <a:avLst/>
          </a:prstGeom>
        </p:spPr>
        <p:txBody>
          <a:bodyPr rIns="0"/>
          <a:lstStyle>
            <a:lvl1pPr>
              <a:lnSpc>
                <a:spcPts val="1814"/>
              </a:lnSpc>
              <a:spcAft>
                <a:spcPts val="0"/>
              </a:spcAft>
              <a:defRPr lang="en-GB" sz="1700" b="0" kern="1200" cap="none" baseline="0" noProof="0" dirty="0" smtClean="0">
                <a:solidFill>
                  <a:schemeClr val="tx1"/>
                </a:solidFill>
                <a:latin typeface="+mn-lt"/>
                <a:ea typeface="+mn-ea"/>
                <a:cs typeface="+mn-cs"/>
              </a:defRPr>
            </a:lvl1pPr>
            <a:lvl2pPr>
              <a:defRPr lang="de-DE" sz="1700" kern="1200" dirty="0" smtClean="0">
                <a:solidFill>
                  <a:schemeClr val="tx1"/>
                </a:solidFill>
                <a:latin typeface="+mn-lt"/>
                <a:ea typeface="+mn-ea"/>
                <a:cs typeface="+mn-cs"/>
              </a:defRPr>
            </a:lvl2pPr>
            <a:lvl3pPr>
              <a:defRPr sz="1512">
                <a:solidFill>
                  <a:schemeClr val="tx1"/>
                </a:solidFill>
              </a:defRPr>
            </a:lvl3pPr>
            <a:lvl4pPr>
              <a:defRPr sz="1512">
                <a:solidFill>
                  <a:schemeClr val="tx1"/>
                </a:solidFill>
              </a:defRPr>
            </a:lvl4pPr>
            <a:lvl5pPr>
              <a:defRPr sz="1417">
                <a:solidFill>
                  <a:schemeClr val="tx1"/>
                </a:solidFill>
              </a:defRPr>
            </a:lvl5pPr>
            <a:lvl6pPr>
              <a:defRPr sz="1417">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151750" rtl="0" eaLnBrk="1" fontAlgn="auto" latinLnBrk="0" hangingPunct="1">
              <a:lnSpc>
                <a:spcPct val="100000"/>
              </a:lnSpc>
              <a:spcBef>
                <a:spcPts val="252"/>
              </a:spcBef>
              <a:spcAft>
                <a:spcPts val="252"/>
              </a:spcAft>
              <a:buClrTx/>
              <a:buSzTx/>
              <a:buFont typeface="Arial" panose="020B0604020202020204" pitchFamily="34" charset="0"/>
              <a:buNone/>
              <a:tabLst/>
            </a:pPr>
            <a:r>
              <a:rPr lang="en-GB" noProof="0"/>
              <a:t>1</a:t>
            </a:r>
          </a:p>
          <a:p>
            <a:pPr lvl="1"/>
            <a:r>
              <a:rPr lang="en-GB" noProof="0"/>
              <a:t>2</a:t>
            </a:r>
          </a:p>
          <a:p>
            <a:pPr lvl="2"/>
            <a:r>
              <a:rPr lang="en-GB" noProof="0"/>
              <a:t>3</a:t>
            </a:r>
          </a:p>
          <a:p>
            <a:pPr lvl="3"/>
            <a:r>
              <a:rPr lang="en-GB" noProof="0"/>
              <a:t>4</a:t>
            </a:r>
          </a:p>
          <a:p>
            <a:pPr lvl="4"/>
            <a:r>
              <a:rPr lang="en-GB" noProof="0"/>
              <a:t>5</a:t>
            </a:r>
          </a:p>
          <a:p>
            <a:pPr lvl="5"/>
            <a:r>
              <a:rPr lang="en-GB" noProof="0"/>
              <a:t>6</a:t>
            </a:r>
          </a:p>
          <a:p>
            <a:pPr lvl="6"/>
            <a:r>
              <a:rPr lang="en-GB" noProof="0"/>
              <a:t>7</a:t>
            </a:r>
          </a:p>
          <a:p>
            <a:pPr lvl="7"/>
            <a:r>
              <a:rPr lang="en-GB" noProof="0"/>
              <a:t>8</a:t>
            </a:r>
          </a:p>
          <a:p>
            <a:pPr lvl="8"/>
            <a:r>
              <a:rPr lang="en-GB" noProof="0"/>
              <a:t>9</a:t>
            </a:r>
          </a:p>
        </p:txBody>
      </p:sp>
      <p:sp>
        <p:nvSpPr>
          <p:cNvPr id="137" name="Freeform 54"/>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4" tIns="57586" rIns="115174" bIns="57586" numCol="1" anchor="t" anchorCtr="0" compatLnSpc="1">
            <a:prstTxWarp prst="textNoShape">
              <a:avLst/>
            </a:prstTxWarp>
          </a:bodyPr>
          <a:lstStyle/>
          <a:p>
            <a:pPr marL="0" marR="0" lvl="0" indent="0" defTabSz="1151750"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a:ln>
                <a:noFill/>
              </a:ln>
              <a:solidFill>
                <a:srgbClr val="003781"/>
              </a:solidFill>
              <a:effectLst/>
              <a:uLnTx/>
              <a:uFillTx/>
            </a:endParaRPr>
          </a:p>
        </p:txBody>
      </p:sp>
      <p:sp>
        <p:nvSpPr>
          <p:cNvPr id="5" name="Foliennummernplatzhalter 4"/>
          <p:cNvSpPr>
            <a:spLocks noGrp="1"/>
          </p:cNvSpPr>
          <p:nvPr>
            <p:ph type="sldNum" sz="quarter" idx="18"/>
          </p:nvPr>
        </p:nvSpPr>
        <p:spPr/>
        <p:txBody>
          <a:bodyPr/>
          <a:lstStyle/>
          <a:p>
            <a:fld id="{61201FF1-C63B-412E-ABF0-3D0E918900AC}" type="slidenum">
              <a:rPr lang="en-GB" smtClean="0"/>
              <a:pPr/>
              <a:t>‹Nr.›</a:t>
            </a:fld>
            <a:endParaRPr lang="en-GB"/>
          </a:p>
        </p:txBody>
      </p:sp>
      <p:sp>
        <p:nvSpPr>
          <p:cNvPr id="12" name="Titel 22"/>
          <p:cNvSpPr>
            <a:spLocks noGrp="1"/>
          </p:cNvSpPr>
          <p:nvPr>
            <p:ph type="title" hasCustomPrompt="1"/>
          </p:nvPr>
        </p:nvSpPr>
        <p:spPr>
          <a:xfrm>
            <a:off x="480021" y="487400"/>
            <a:ext cx="10086430" cy="485902"/>
          </a:xfrm>
        </p:spPr>
        <p:txBody>
          <a:bodyPr tIns="36000"/>
          <a:lstStyle>
            <a:lvl1pPr>
              <a:defRPr sz="2834"/>
            </a:lvl1pPr>
          </a:lstStyle>
          <a:p>
            <a:r>
              <a:rPr lang="de-DE"/>
              <a:t>TitLE</a:t>
            </a:r>
            <a:endParaRPr lang="en-GB"/>
          </a:p>
        </p:txBody>
      </p:sp>
      <p:sp>
        <p:nvSpPr>
          <p:cNvPr id="13" name="Textplatzhalter 5"/>
          <p:cNvSpPr>
            <a:spLocks noGrp="1"/>
          </p:cNvSpPr>
          <p:nvPr>
            <p:ph type="body" sz="quarter" idx="20" hasCustomPrompt="1"/>
          </p:nvPr>
        </p:nvSpPr>
        <p:spPr>
          <a:xfrm>
            <a:off x="486084" y="245950"/>
            <a:ext cx="5273410" cy="146970"/>
          </a:xfrm>
        </p:spPr>
        <p:txBody>
          <a:bodyPr/>
          <a:lstStyle>
            <a:lvl1pPr>
              <a:defRPr sz="945" kern="900" baseline="0"/>
            </a:lvl1pPr>
            <a:lvl2pPr>
              <a:defRPr sz="1134"/>
            </a:lvl2pPr>
            <a:lvl3pPr>
              <a:defRPr sz="1134"/>
            </a:lvl3pPr>
            <a:lvl4pPr>
              <a:defRPr sz="1134"/>
            </a:lvl4pPr>
            <a:lvl5pPr>
              <a:defRPr sz="1134"/>
            </a:lvl5pPr>
          </a:lstStyle>
          <a:p>
            <a:pPr lvl="0"/>
            <a:r>
              <a:rPr lang="de-DE" err="1"/>
              <a:t>Subject</a:t>
            </a:r>
            <a:r>
              <a:rPr lang="de-DE"/>
              <a:t> Line </a:t>
            </a:r>
            <a:r>
              <a:rPr lang="de-DE" err="1"/>
              <a:t>for</a:t>
            </a:r>
            <a:r>
              <a:rPr lang="de-DE"/>
              <a:t> Navigation</a:t>
            </a:r>
          </a:p>
        </p:txBody>
      </p:sp>
      <p:sp>
        <p:nvSpPr>
          <p:cNvPr id="15" name="Datumsplatzhalter 3">
            <a:extLst>
              <a:ext uri="{FF2B5EF4-FFF2-40B4-BE49-F238E27FC236}">
                <a16:creationId xmlns:a16="http://schemas.microsoft.com/office/drawing/2014/main" id="{0F670A6A-2297-1A4C-8608-E36A4EBC89A2}"/>
              </a:ext>
            </a:extLst>
          </p:cNvPr>
          <p:cNvSpPr>
            <a:spLocks noGrp="1"/>
          </p:cNvSpPr>
          <p:nvPr>
            <p:ph type="dt" sz="half" idx="2"/>
          </p:nvPr>
        </p:nvSpPr>
        <p:spPr>
          <a:xfrm>
            <a:off x="1745247" y="6135186"/>
            <a:ext cx="544406" cy="232628"/>
          </a:xfrm>
          <a:prstGeom prst="rect">
            <a:avLst/>
          </a:prstGeom>
        </p:spPr>
        <p:txBody>
          <a:bodyPr wrap="square" lIns="0" tIns="0" rIns="0" bIns="0">
            <a:spAutoFit/>
          </a:bodyPr>
          <a:lstStyle/>
          <a:p>
            <a:fld id="{CDCBB2D3-AC70-0543-A687-84CFA9437C48}" type="datetime1">
              <a:rPr lang="de-DE" sz="756" smtClean="0"/>
              <a:t>17.05.2024</a:t>
            </a:fld>
            <a:r>
              <a:rPr lang="de-DE" sz="756"/>
              <a:t>.20</a:t>
            </a:r>
            <a:endParaRPr lang="en-GB" sz="756"/>
          </a:p>
        </p:txBody>
      </p:sp>
    </p:spTree>
    <p:extLst>
      <p:ext uri="{BB962C8B-B14F-4D97-AF65-F5344CB8AC3E}">
        <p14:creationId xmlns:p14="http://schemas.microsoft.com/office/powerpoint/2010/main" val="41687461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216000" y="1692000"/>
            <a:ext cx="11736000" cy="1584000"/>
          </a:xfrm>
        </p:spPr>
        <p:txBody>
          <a:bodyPr rIns="216000" anchor="b" anchorCtr="0"/>
          <a:lstStyle>
            <a:lvl1pPr algn="l">
              <a:lnSpc>
                <a:spcPct val="80000"/>
              </a:lnSpc>
              <a:defRPr sz="12200">
                <a:solidFill>
                  <a:schemeClr val="tx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1" y="3168000"/>
            <a:ext cx="11880000" cy="1584000"/>
          </a:xfrm>
        </p:spPr>
        <p:txBody>
          <a:bodyPr rIns="216000"/>
          <a:lstStyle>
            <a:lvl1pPr marL="0" indent="0" algn="r">
              <a:lnSpc>
                <a:spcPct val="80000"/>
              </a:lnSpc>
              <a:buNone/>
              <a:defRPr sz="122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2" y="5760000"/>
            <a:ext cx="5183187" cy="360000"/>
          </a:xfrm>
        </p:spPr>
        <p:txBody>
          <a:bodyPr anchor="b" anchorCtr="0"/>
          <a:lstStyle>
            <a:lvl1pPr>
              <a:lnSpc>
                <a:spcPct val="100000"/>
              </a:lnSpc>
              <a:defRPr sz="1500">
                <a:solidFill>
                  <a:schemeClr val="tx1"/>
                </a:solidFill>
              </a:defRPr>
            </a:lvl1pPr>
          </a:lstStyle>
          <a:p>
            <a:pPr lvl="0"/>
            <a:r>
              <a:rPr lang="de-DE"/>
              <a:t>Erste Ebene</a:t>
            </a:r>
          </a:p>
        </p:txBody>
      </p:sp>
    </p:spTree>
    <p:extLst>
      <p:ext uri="{BB962C8B-B14F-4D97-AF65-F5344CB8AC3E}">
        <p14:creationId xmlns:p14="http://schemas.microsoft.com/office/powerpoint/2010/main" val="15582171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41869539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61039"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040198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761276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5A3795C5-4CD6-4FB0-947E-2352201729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03717892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Z Text+Fond">
    <p:bg>
      <p:bgPr>
        <a:solidFill>
          <a:srgbClr val="122B54"/>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68314" y="1152524"/>
            <a:ext cx="3311524" cy="4500564"/>
          </a:xfr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3995738" y="1152525"/>
            <a:ext cx="6840537" cy="45005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7B125DD-B218-4B65-A292-A67AEC69AB51}"/>
              </a:ext>
            </a:extLst>
          </p:cNvPr>
          <p:cNvSpPr>
            <a:spLocks noGrp="1"/>
          </p:cNvSpPr>
          <p:nvPr>
            <p:ph type="dt" sz="half" idx="16"/>
          </p:nvPr>
        </p:nvSpPr>
        <p:spPr/>
        <p:txBody>
          <a:bodyPr/>
          <a:lstStyle/>
          <a:p>
            <a:r>
              <a:rPr lang="de-DE"/>
              <a:t>© Allianz 2021</a:t>
            </a:r>
          </a:p>
        </p:txBody>
      </p:sp>
      <p:sp>
        <p:nvSpPr>
          <p:cNvPr id="5" name="Fußzeilenplatzhalter 4">
            <a:extLst>
              <a:ext uri="{FF2B5EF4-FFF2-40B4-BE49-F238E27FC236}">
                <a16:creationId xmlns:a16="http://schemas.microsoft.com/office/drawing/2014/main" id="{190E4D6E-27A0-4B8A-8544-9BB76F9CE2F6}"/>
              </a:ext>
            </a:extLst>
          </p:cNvPr>
          <p:cNvSpPr>
            <a:spLocks noGrp="1"/>
          </p:cNvSpPr>
          <p:nvPr>
            <p:ph type="ftr" sz="quarter" idx="17"/>
          </p:nvPr>
        </p:nvSpPr>
        <p:spPr/>
        <p:txBody>
          <a:bodyPr/>
          <a:lstStyle/>
          <a:p>
            <a:r>
              <a:rPr lang="de-DE"/>
              <a:t>Topline goes here</a:t>
            </a:r>
          </a:p>
        </p:txBody>
      </p:sp>
      <p:sp>
        <p:nvSpPr>
          <p:cNvPr id="6" name="Foliennummernplatzhalter 5">
            <a:extLst>
              <a:ext uri="{FF2B5EF4-FFF2-40B4-BE49-F238E27FC236}">
                <a16:creationId xmlns:a16="http://schemas.microsoft.com/office/drawing/2014/main" id="{87E3945F-1854-4B62-BEAE-A859F45E3985}"/>
              </a:ext>
            </a:extLst>
          </p:cNvPr>
          <p:cNvSpPr>
            <a:spLocks noGrp="1"/>
          </p:cNvSpPr>
          <p:nvPr>
            <p:ph type="sldNum" sz="quarter" idx="18"/>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9216819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Z Quote">
    <p:bg>
      <p:bgPr>
        <a:solidFill>
          <a:srgbClr val="122B54"/>
        </a:solidFill>
        <a:effectLst/>
      </p:bgPr>
    </p:b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68313" y="1368425"/>
            <a:ext cx="10367962" cy="4284663"/>
          </a:xfrm>
        </p:spPr>
        <p:txBody>
          <a:bodyPr/>
          <a:lstStyle>
            <a:lvl1pPr>
              <a:lnSpc>
                <a:spcPct val="80000"/>
              </a:lnSpc>
              <a:spcAft>
                <a:spcPts val="2400"/>
              </a:spcAft>
              <a:defRPr sz="47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7">
            <a:extLst>
              <a:ext uri="{FF2B5EF4-FFF2-40B4-BE49-F238E27FC236}">
                <a16:creationId xmlns:a16="http://schemas.microsoft.com/office/drawing/2014/main" id="{FC5EB96C-1978-4B37-B940-72FCA15AA234}"/>
              </a:ext>
            </a:extLst>
          </p:cNvPr>
          <p:cNvSpPr>
            <a:spLocks noGrp="1"/>
          </p:cNvSpPr>
          <p:nvPr>
            <p:ph type="dt" sz="half" idx="16"/>
          </p:nvPr>
        </p:nvSpPr>
        <p:spPr/>
        <p:txBody>
          <a:bodyPr/>
          <a:lstStyle>
            <a:lvl1pPr>
              <a:defRPr>
                <a:solidFill>
                  <a:schemeClr val="tx1"/>
                </a:solidFill>
              </a:defRPr>
            </a:lvl1pPr>
          </a:lstStyle>
          <a:p>
            <a:r>
              <a:rPr lang="de-DE"/>
              <a:t>© Allianz 2021</a:t>
            </a:r>
          </a:p>
        </p:txBody>
      </p:sp>
      <p:sp>
        <p:nvSpPr>
          <p:cNvPr id="11" name="Foliennummernplatzhalter 10">
            <a:extLst>
              <a:ext uri="{FF2B5EF4-FFF2-40B4-BE49-F238E27FC236}">
                <a16:creationId xmlns:a16="http://schemas.microsoft.com/office/drawing/2014/main" id="{DA316743-3033-4FC9-8ADF-C75E03C1806D}"/>
              </a:ext>
            </a:extLst>
          </p:cNvPr>
          <p:cNvSpPr>
            <a:spLocks noGrp="1"/>
          </p:cNvSpPr>
          <p:nvPr>
            <p:ph type="sldNum" sz="quarter" idx="18"/>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144000"/>
            <a:ext cx="1044000" cy="885704"/>
          </a:xfrm>
          <a:prstGeom prst="rect">
            <a:avLst/>
          </a:prstGeom>
        </p:spPr>
      </p:pic>
    </p:spTree>
    <p:extLst>
      <p:ext uri="{BB962C8B-B14F-4D97-AF65-F5344CB8AC3E}">
        <p14:creationId xmlns:p14="http://schemas.microsoft.com/office/powerpoint/2010/main" val="5609636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0"/>
            <a:ext cx="12096000" cy="3384549"/>
          </a:xfrm>
        </p:spPr>
        <p:txBody>
          <a:bodyPr rIns="216000"/>
          <a:lstStyle>
            <a:lvl1pPr marL="0" indent="0" algn="l">
              <a:lnSpc>
                <a:spcPct val="80000"/>
              </a:lnSpc>
              <a:buNone/>
              <a:defRPr sz="189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8ED41466-DBEC-42EF-BA33-38FB35FBA91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25090650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0" y="2268000"/>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Nr.›</a:t>
            </a:fld>
            <a:endParaRPr lang="de-DE"/>
          </a:p>
        </p:txBody>
      </p:sp>
    </p:spTree>
    <p:extLst>
      <p:ext uri="{BB962C8B-B14F-4D97-AF65-F5344CB8AC3E}">
        <p14:creationId xmlns:p14="http://schemas.microsoft.com/office/powerpoint/2010/main" val="6433483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53021" y="462340"/>
            <a:ext cx="8811372" cy="838196"/>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53019" y="1300536"/>
            <a:ext cx="10614451" cy="452562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r.›</a:t>
            </a:fld>
            <a:endParaRPr lang="de-DE"/>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1071165348"/>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5301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86224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Nr.›</a:t>
            </a:fld>
            <a:endParaRPr lang="de-DE"/>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36529935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1708547"/>
            <a:ext cx="3402145"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0709216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51734" y="2268538"/>
            <a:ext cx="5075237"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3955241"/>
            <a:ext cx="3402145"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53019" y="1708546"/>
            <a:ext cx="3402144" cy="1870917"/>
          </a:xfrm>
          <a:solidFill>
            <a:schemeClr val="tx2">
              <a:lumMod val="90000"/>
            </a:schemeClr>
          </a:solidFill>
        </p:spPr>
        <p:txBody>
          <a:bodyPr/>
          <a:lstStyle/>
          <a:p>
            <a:endParaRPr lang="de-DE"/>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059173" y="1708546"/>
            <a:ext cx="3402144" cy="1870917"/>
          </a:xfrm>
          <a:solidFill>
            <a:schemeClr val="tx2">
              <a:lumMod val="90000"/>
            </a:schemeClr>
          </a:solidFill>
        </p:spPr>
        <p:txBody>
          <a:bodyPr/>
          <a:lstStyle/>
          <a:p>
            <a:endParaRPr lang="de-DE"/>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7665326" y="1708546"/>
            <a:ext cx="3402144" cy="1870917"/>
          </a:xfrm>
          <a:solidFill>
            <a:schemeClr val="tx2">
              <a:lumMod val="90000"/>
            </a:schemeClr>
          </a:solidFill>
        </p:spPr>
        <p:txBody>
          <a:bodyPr/>
          <a:lstStyle/>
          <a:p>
            <a:endParaRPr lang="de-DE"/>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188427404"/>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436263" cy="5748817"/>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8742418" y="1258617"/>
            <a:ext cx="2325051" cy="4490200"/>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425724480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6667369" cy="5612750"/>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211644" y="1708547"/>
            <a:ext cx="3855825" cy="3904204"/>
          </a:xfrm>
        </p:spPr>
        <p:txBody>
          <a:bodyPr/>
          <a:lstStyle>
            <a:lvl1pPr>
              <a:lnSpc>
                <a:spcPts val="3591"/>
              </a:lnSpc>
              <a:spcAft>
                <a:spcPts val="2268"/>
              </a:spcAft>
              <a:defRPr sz="3591" b="0"/>
            </a:lvl1pPr>
            <a:lvl2pPr marL="0" indent="0">
              <a:buNone/>
              <a:defRPr sz="1890"/>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2163366653"/>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059172" y="-1"/>
            <a:ext cx="7461316" cy="4694300"/>
          </a:xfrm>
          <a:solidFill>
            <a:schemeClr val="tx2"/>
          </a:solidFill>
        </p:spPr>
        <p:txBody>
          <a:bodyPr/>
          <a:lstStyle/>
          <a:p>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421987"/>
            <a:ext cx="3402143" cy="2272312"/>
          </a:xfrm>
        </p:spPr>
        <p:txBody>
          <a:bodyPr anchor="b"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103105" y="476233"/>
            <a:ext cx="962686" cy="238117"/>
          </a:xfrm>
          <a:blipFill>
            <a:blip r:embed="rId2">
              <a:extLst>
                <a:ext uri="{96DAC541-7B7A-43D3-8B79-37D633B846F1}">
                  <asvg:svgBlip xmlns:asvg="http://schemas.microsoft.com/office/drawing/2016/SVG/main" r:embed="rId3"/>
                </a:ext>
              </a:extLst>
            </a:blip>
            <a:stretch>
              <a:fillRect/>
            </a:stretch>
          </a:blipFill>
        </p:spPr>
        <p:txBody>
          <a:bodyPr/>
          <a:lstStyle>
            <a:lvl1pPr>
              <a:defRPr sz="756">
                <a:solidFill>
                  <a:schemeClr val="tx1">
                    <a:alpha val="0"/>
                  </a:schemeClr>
                </a:solidFill>
              </a:defRPr>
            </a:lvl1pPr>
          </a:lstStyle>
          <a:p>
            <a:endParaRPr lang="de-DE"/>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228461595"/>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658240" y="952468"/>
            <a:ext cx="5862248" cy="5527708"/>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993467"/>
            <a:ext cx="3402143" cy="2832691"/>
          </a:xfrm>
        </p:spPr>
        <p:txBody>
          <a:bodyPr anchor="t"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6130404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862250" y="986484"/>
            <a:ext cx="1972997" cy="2109033"/>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Nr.›</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8" y="825023"/>
            <a:ext cx="5205221" cy="1360537"/>
          </a:xfrm>
        </p:spPr>
        <p:txBody>
          <a:bodyPr/>
          <a:lstStyle>
            <a:lvl1pPr>
              <a:lnSpc>
                <a:spcPts val="8032"/>
              </a:lnSpc>
              <a:defRPr sz="8032"/>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3945933"/>
            <a:ext cx="3606152" cy="1880224"/>
          </a:xfrm>
        </p:spPr>
        <p:txBody>
          <a:bodyPr anchor="t"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164126" y="986484"/>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5862250" y="3384659"/>
            <a:ext cx="1972997" cy="2109033"/>
          </a:xfrm>
          <a:solidFill>
            <a:schemeClr val="tx2"/>
          </a:solidFill>
        </p:spPr>
        <p:txBody>
          <a:bodyPr/>
          <a:lstStyle/>
          <a:p>
            <a:endParaRPr lang="de-DE"/>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164126" y="3384659"/>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53020" y="450012"/>
            <a:ext cx="5205220"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15059902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665325"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289351" y="1708547"/>
            <a:ext cx="2778118" cy="4117611"/>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53020" y="450012"/>
            <a:ext cx="5409229"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9832392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6633352"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143610" y="2857401"/>
            <a:ext cx="3923857" cy="2968756"/>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386338" y="0"/>
            <a:ext cx="4082063" cy="2211083"/>
          </a:xfrm>
          <a:solidFill>
            <a:schemeClr val="tx2">
              <a:lumMod val="90000"/>
            </a:schemeClr>
          </a:solidFill>
        </p:spPr>
        <p:txBody>
          <a:bodyPr/>
          <a:lstStyle>
            <a:lvl1pPr>
              <a:defRPr>
                <a:solidFill>
                  <a:schemeClr val="tx1"/>
                </a:solidFill>
              </a:defRPr>
            </a:lvl1pPr>
          </a:lstStyle>
          <a:p>
            <a:endParaRPr lang="de-DE"/>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53019" y="450012"/>
            <a:ext cx="4748310"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7143559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3023310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032"/>
              </a:lnSpc>
              <a:defRPr sz="8032"/>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22589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9950606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Nr.›</a:t>
            </a:fld>
            <a:endParaRPr lang="de-DE"/>
          </a:p>
        </p:txBody>
      </p:sp>
    </p:spTree>
    <p:extLst>
      <p:ext uri="{BB962C8B-B14F-4D97-AF65-F5344CB8AC3E}">
        <p14:creationId xmlns:p14="http://schemas.microsoft.com/office/powerpoint/2010/main" val="225326723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2429" y="-144000"/>
            <a:ext cx="1044000" cy="885704"/>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Nr.›</a:t>
            </a:fld>
            <a:endParaRPr lang="de-DE"/>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68313" y="1708546"/>
            <a:ext cx="6993003" cy="4117611"/>
          </a:xfrm>
        </p:spPr>
        <p:txBody>
          <a:bodyPr/>
          <a:lstStyle>
            <a:lvl1pPr>
              <a:lnSpc>
                <a:spcPts val="3591"/>
              </a:lnSpc>
              <a:spcAft>
                <a:spcPts val="2835"/>
              </a:spcAft>
              <a:defRPr sz="3591"/>
            </a:lvl1pPr>
            <a:lvl2pPr marL="0" indent="0">
              <a:buFont typeface="Arial" panose="020B0604020202020204" pitchFamily="34" charset="0"/>
              <a:buNone/>
              <a:defRPr sz="1512"/>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a:p>
        </p:txBody>
      </p:sp>
    </p:spTree>
    <p:extLst>
      <p:ext uri="{BB962C8B-B14F-4D97-AF65-F5344CB8AC3E}">
        <p14:creationId xmlns:p14="http://schemas.microsoft.com/office/powerpoint/2010/main" val="132773831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1520488" cy="6480175"/>
          </a:xfrm>
          <a:solidFill>
            <a:schemeClr val="tx2">
              <a:lumMod val="90000"/>
            </a:schemeClr>
          </a:solidFill>
        </p:spPr>
        <p:txBody>
          <a:bodyPr/>
          <a:lstStyle>
            <a:lvl1pPr>
              <a:defRPr>
                <a:solidFill>
                  <a:schemeClr val="tx1"/>
                </a:solidFill>
              </a:defRPr>
            </a:lvl1pPr>
          </a:lstStyle>
          <a:p>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721375" y="2857401"/>
            <a:ext cx="4943950" cy="2125088"/>
          </a:xfrm>
        </p:spPr>
        <p:txBody>
          <a:bodyPr/>
          <a:lstStyle>
            <a:lvl1pPr>
              <a:lnSpc>
                <a:spcPts val="3591"/>
              </a:lnSpc>
              <a:defRPr sz="3591">
                <a:solidFill>
                  <a:schemeClr val="tx1"/>
                </a:solidFill>
              </a:defRPr>
            </a:lvl1pPr>
            <a:lvl2pPr marL="0" indent="0" algn="r">
              <a:lnSpc>
                <a:spcPts val="3591"/>
              </a:lnSpc>
              <a:buNone/>
              <a:defRPr sz="3591">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Nr.›</a:t>
            </a:fld>
            <a:endParaRPr lang="de-DE"/>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103105" y="476233"/>
            <a:ext cx="962686" cy="238117"/>
          </a:xfrm>
          <a:blipFill>
            <a:blip r:embed="rId2">
              <a:extLst>
                <a:ext uri="{96DAC541-7B7A-43D3-8B79-37D633B846F1}">
                  <asvg:svgBlip xmlns:asvg="http://schemas.microsoft.com/office/drawing/2016/SVG/main" r:embed="rId3"/>
                </a:ext>
              </a:extLst>
            </a:blip>
            <a:stretch>
              <a:fillRect/>
            </a:stretch>
          </a:blipFill>
        </p:spPr>
        <p:txBody>
          <a:bodyPr/>
          <a:lstStyle>
            <a:lvl1pPr>
              <a:defRPr sz="756">
                <a:solidFill>
                  <a:schemeClr val="tx1">
                    <a:alpha val="0"/>
                  </a:schemeClr>
                </a:solidFill>
              </a:defRPr>
            </a:lvl1pPr>
          </a:lstStyle>
          <a:p>
            <a:endParaRPr lang="de-DE"/>
          </a:p>
        </p:txBody>
      </p:sp>
    </p:spTree>
    <p:extLst>
      <p:ext uri="{BB962C8B-B14F-4D97-AF65-F5344CB8AC3E}">
        <p14:creationId xmlns:p14="http://schemas.microsoft.com/office/powerpoint/2010/main" val="39284495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495792" y="1734850"/>
            <a:ext cx="1768894" cy="1768867"/>
          </a:xfrm>
          <a:prstGeom prst="ellipse">
            <a:avLst/>
          </a:prstGeom>
          <a:solidFill>
            <a:schemeClr val="tx2">
              <a:lumMod val="90000"/>
            </a:schemeClr>
          </a:solidFill>
          <a:ln w="127000">
            <a:solidFill>
              <a:schemeClr val="bg1"/>
            </a:solidFill>
          </a:ln>
        </p:spPr>
        <p:txBody>
          <a:bodyPr/>
          <a:lstStyle/>
          <a:p>
            <a:endParaRPr lang="de-DE"/>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53021"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101944" y="1734850"/>
            <a:ext cx="1768894" cy="1768867"/>
          </a:xfrm>
          <a:prstGeom prst="ellipse">
            <a:avLst/>
          </a:prstGeom>
          <a:solidFill>
            <a:schemeClr val="tx2">
              <a:lumMod val="90000"/>
            </a:schemeClr>
          </a:solidFill>
          <a:ln w="127000">
            <a:solidFill>
              <a:schemeClr val="bg1"/>
            </a:solidFill>
          </a:ln>
        </p:spPr>
        <p:txBody>
          <a:bodyPr/>
          <a:lstStyle/>
          <a:p>
            <a:endParaRPr lang="de-DE"/>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7708097" y="1734850"/>
            <a:ext cx="1768894" cy="1768867"/>
          </a:xfrm>
          <a:prstGeom prst="ellipse">
            <a:avLst/>
          </a:prstGeom>
          <a:solidFill>
            <a:schemeClr val="tx2">
              <a:lumMod val="90000"/>
            </a:schemeClr>
          </a:solidFill>
          <a:ln w="127000">
            <a:solidFill>
              <a:schemeClr val="bg1"/>
            </a:solidFill>
          </a:ln>
        </p:spPr>
        <p:txBody>
          <a:bodyPr/>
          <a:lstStyle/>
          <a:p>
            <a:endParaRPr lang="de-DE"/>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059172"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7665325"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8717219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098002" y="0"/>
            <a:ext cx="6422486"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4" y="1799999"/>
            <a:ext cx="4413788" cy="2268000"/>
          </a:xfrm>
        </p:spPr>
        <p:txBody>
          <a:bodyPr rIns="216000" anchor="ctr" anchorCtr="0"/>
          <a:lstStyle>
            <a:lvl1pPr algn="l">
              <a:lnSpc>
                <a:spcPct val="80000"/>
              </a:lnSpc>
              <a:defRPr sz="6000">
                <a:latin typeface="Allianz Neo" panose="020B0504020203020204" pitchFamily="34" charset="0"/>
              </a:defRPr>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4" y="4536000"/>
            <a:ext cx="4413788" cy="531099"/>
          </a:xfrm>
        </p:spPr>
        <p:txBody>
          <a:bodyPr rIns="216000"/>
          <a:lstStyle>
            <a:lvl1pPr marL="0" indent="0" algn="l">
              <a:buNone/>
              <a:defRPr sz="1500">
                <a:latin typeface="Allianz Neo" panose="020B05040202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Tree>
    <p:extLst>
      <p:ext uri="{BB962C8B-B14F-4D97-AF65-F5344CB8AC3E}">
        <p14:creationId xmlns:p14="http://schemas.microsoft.com/office/powerpoint/2010/main" val="7630799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
        <p:nvSpPr>
          <p:cNvPr id="17" name="Datumsplatzhalter 1">
            <a:extLst>
              <a:ext uri="{FF2B5EF4-FFF2-40B4-BE49-F238E27FC236}">
                <a16:creationId xmlns:a16="http://schemas.microsoft.com/office/drawing/2014/main" id="{2E080B7E-C6CE-4560-9592-5A09C2DE0277}"/>
              </a:ext>
            </a:extLst>
          </p:cNvPr>
          <p:cNvSpPr>
            <a:spLocks noGrp="1"/>
          </p:cNvSpPr>
          <p:nvPr>
            <p:ph type="dt" sz="half" idx="10"/>
          </p:nvPr>
        </p:nvSpPr>
        <p:spPr>
          <a:xfrm rot="-5400000">
            <a:off x="9594058" y="3726657"/>
            <a:ext cx="3384550" cy="468312"/>
          </a:xfrm>
        </p:spPr>
        <p:txBody>
          <a:bodyPr/>
          <a:lstStyle>
            <a:lvl1pPr>
              <a:defRPr>
                <a:latin typeface="Allianz Neo" panose="020B0504020203020204" pitchFamily="34" charset="0"/>
              </a:defRPr>
            </a:lvl1pPr>
          </a:lstStyle>
          <a:p>
            <a:r>
              <a:rPr lang="de-DE"/>
              <a:t>© Allianz 2021</a:t>
            </a:r>
          </a:p>
        </p:txBody>
      </p:sp>
      <p:sp>
        <p:nvSpPr>
          <p:cNvPr id="18" name="Foliennummernplatzhalter 4">
            <a:extLst>
              <a:ext uri="{FF2B5EF4-FFF2-40B4-BE49-F238E27FC236}">
                <a16:creationId xmlns:a16="http://schemas.microsoft.com/office/drawing/2014/main" id="{B79FBDAD-9508-4725-89E9-94C983654F52}"/>
              </a:ext>
            </a:extLst>
          </p:cNvPr>
          <p:cNvSpPr>
            <a:spLocks noGrp="1"/>
          </p:cNvSpPr>
          <p:nvPr>
            <p:ph type="sldNum" sz="quarter" idx="12"/>
          </p:nvPr>
        </p:nvSpPr>
        <p:spPr>
          <a:xfrm>
            <a:off x="11052174" y="5653089"/>
            <a:ext cx="468313" cy="827086"/>
          </a:xfrm>
        </p:spPr>
        <p:txBody>
          <a:bodyPr/>
          <a:lstStyle>
            <a:lvl1pPr>
              <a:defRPr>
                <a:latin typeface="Allianz Neo" panose="020B0504020203020204" pitchFamily="34" charset="0"/>
              </a:defRPr>
            </a:lvl1pPr>
          </a:lstStyle>
          <a:p>
            <a:fld id="{0F96B16C-3F5F-44BC-AFCC-8CBCBD90898D}" type="slidenum">
              <a:rPr lang="de-DE" smtClean="0"/>
              <a:pPr/>
              <a:t>‹Nr.›</a:t>
            </a:fld>
            <a:endParaRPr lang="de-DE"/>
          </a:p>
        </p:txBody>
      </p:sp>
    </p:spTree>
    <p:extLst>
      <p:ext uri="{BB962C8B-B14F-4D97-AF65-F5344CB8AC3E}">
        <p14:creationId xmlns:p14="http://schemas.microsoft.com/office/powerpoint/2010/main" val="39615918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6" name="Textplatzhalter 5"/>
          <p:cNvSpPr>
            <a:spLocks noGrp="1"/>
          </p:cNvSpPr>
          <p:nvPr>
            <p:ph type="body" sz="quarter" idx="13" hasCustomPrompt="1"/>
          </p:nvPr>
        </p:nvSpPr>
        <p:spPr>
          <a:xfrm>
            <a:off x="477838" y="468000"/>
            <a:ext cx="10294937" cy="695325"/>
          </a:xfrm>
        </p:spPr>
        <p:txBody>
          <a:bodyPr/>
          <a:lstStyle>
            <a:lvl1pPr>
              <a:lnSpc>
                <a:spcPts val="4500"/>
              </a:lnSpc>
              <a:defRPr sz="4700" baseline="0">
                <a:solidFill>
                  <a:srgbClr val="13A0D3"/>
                </a:solidFill>
                <a:latin typeface="Allianz Neo" panose="020B0504020203020204" pitchFamily="34" charset="0"/>
              </a:defRPr>
            </a:lvl1pPr>
            <a:lvl2pPr>
              <a:defRPr sz="4700">
                <a:latin typeface="Allianz Neo" panose="020B0504020203020204" pitchFamily="34" charset="0"/>
              </a:defRPr>
            </a:lvl2pPr>
            <a:lvl3pPr>
              <a:defRPr sz="4700">
                <a:latin typeface="Allianz Neo" panose="020B0504020203020204" pitchFamily="34" charset="0"/>
              </a:defRPr>
            </a:lvl3pPr>
            <a:lvl4pPr>
              <a:defRPr sz="4700">
                <a:latin typeface="Allianz Neo" panose="020B0504020203020204" pitchFamily="34" charset="0"/>
              </a:defRPr>
            </a:lvl4pPr>
            <a:lvl5pPr>
              <a:defRPr sz="4700">
                <a:latin typeface="Allianz Neo" panose="020B0504020203020204" pitchFamily="34" charset="0"/>
              </a:defRPr>
            </a:lvl5pPr>
          </a:lstStyle>
          <a:p>
            <a:pPr lvl="0"/>
            <a:r>
              <a:rPr lang="de-DE"/>
              <a:t>So funktioniert</a:t>
            </a:r>
          </a:p>
          <a:p>
            <a:pPr lvl="0"/>
            <a:r>
              <a:rPr lang="de-DE"/>
              <a:t>die Aktion</a:t>
            </a:r>
          </a:p>
        </p:txBody>
      </p:sp>
      <p:sp>
        <p:nvSpPr>
          <p:cNvPr id="15"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a:xfrm rot="-5400000">
            <a:off x="10833188" y="4965837"/>
            <a:ext cx="906122" cy="468305"/>
          </a:xfrm>
        </p:spPr>
        <p:txBody>
          <a:bodyPr/>
          <a:lstStyle/>
          <a:p>
            <a:pPr defTabSz="864006"/>
            <a:r>
              <a:rPr lang="de-DE">
                <a:solidFill>
                  <a:srgbClr val="003781"/>
                </a:solidFill>
                <a:latin typeface="Allianz Neo PPT"/>
              </a:rPr>
              <a:t>© Allianz 2021</a:t>
            </a:r>
          </a:p>
        </p:txBody>
      </p:sp>
      <p:sp>
        <p:nvSpPr>
          <p:cNvPr id="16"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a:xfrm>
            <a:off x="11052174" y="5653089"/>
            <a:ext cx="468313" cy="827086"/>
          </a:xfrm>
        </p:spPr>
        <p:txBody>
          <a:bodyPr/>
          <a:lstStyle/>
          <a:p>
            <a:pPr defTabSz="864006"/>
            <a:fld id="{0F96B16C-3F5F-44BC-AFCC-8CBCBD90898D}" type="slidenum">
              <a:rPr lang="de-DE">
                <a:solidFill>
                  <a:srgbClr val="003781"/>
                </a:solidFill>
                <a:latin typeface="Allianz Neo PPT"/>
              </a:rPr>
              <a:pPr defTabSz="864006"/>
              <a:t>‹Nr.›</a:t>
            </a:fld>
            <a:endParaRPr lang="de-DE">
              <a:solidFill>
                <a:srgbClr val="003781"/>
              </a:solidFill>
              <a:latin typeface="Allianz Neo PPT"/>
            </a:endParaRPr>
          </a:p>
        </p:txBody>
      </p:sp>
      <p:sp>
        <p:nvSpPr>
          <p:cNvPr id="8" name="Textplatzhalter 7"/>
          <p:cNvSpPr>
            <a:spLocks noGrp="1"/>
          </p:cNvSpPr>
          <p:nvPr>
            <p:ph type="body" sz="quarter" idx="14" hasCustomPrompt="1"/>
          </p:nvPr>
        </p:nvSpPr>
        <p:spPr>
          <a:xfrm>
            <a:off x="468000" y="1868400"/>
            <a:ext cx="10390187" cy="4057650"/>
          </a:xfrm>
        </p:spPr>
        <p:txBody>
          <a:bodyPr/>
          <a:lstStyle>
            <a:lvl1pPr>
              <a:defRPr sz="2000">
                <a:latin typeface="Allianz Neo" panose="020B0504020203020204" pitchFamily="34" charset="0"/>
              </a:defRPr>
            </a:lvl1pPr>
            <a:lvl2pPr>
              <a:defRPr sz="1600">
                <a:latin typeface="Allianz Neo" panose="020B0504020203020204" pitchFamily="34" charset="0"/>
              </a:defRPr>
            </a:lvl2pPr>
            <a:lvl3pPr>
              <a:defRPr sz="1600">
                <a:latin typeface="Allianz Neo" panose="020B0504020203020204" pitchFamily="34" charset="0"/>
              </a:defRPr>
            </a:lvl3pPr>
            <a:lvl4pPr>
              <a:defRPr sz="1600">
                <a:latin typeface="Allianz Neo" panose="020B0504020203020204" pitchFamily="34" charset="0"/>
              </a:defRPr>
            </a:lvl4pPr>
            <a:lvl5pPr>
              <a:defRPr sz="2000">
                <a:latin typeface="Allianz Neo" panose="020B0504020203020204" pitchFamily="34" charset="0"/>
              </a:defRPr>
            </a:lvl5pPr>
          </a:lstStyle>
          <a:p>
            <a:pPr lvl="0"/>
            <a:r>
              <a:rPr lang="de-DE"/>
              <a:t>Text</a:t>
            </a:r>
          </a:p>
        </p:txBody>
      </p:sp>
    </p:spTree>
    <p:extLst>
      <p:ext uri="{BB962C8B-B14F-4D97-AF65-F5344CB8AC3E}">
        <p14:creationId xmlns:p14="http://schemas.microsoft.com/office/powerpoint/2010/main" val="14704104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098002" y="0"/>
            <a:ext cx="6422486"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4" y="1799999"/>
            <a:ext cx="4413788" cy="2268000"/>
          </a:xfrm>
        </p:spPr>
        <p:txBody>
          <a:bodyPr rIns="216000" anchor="ctr" anchorCtr="0"/>
          <a:lstStyle>
            <a:lvl1pPr algn="l">
              <a:lnSpc>
                <a:spcPct val="80000"/>
              </a:lnSpc>
              <a:defRPr sz="6000">
                <a:latin typeface="Allianz Neo" panose="020B0504020203020204" pitchFamily="34" charset="0"/>
              </a:defRPr>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4" y="4536000"/>
            <a:ext cx="4413788" cy="531099"/>
          </a:xfrm>
        </p:spPr>
        <p:txBody>
          <a:bodyPr rIns="216000"/>
          <a:lstStyle>
            <a:lvl1pPr marL="0" indent="0" algn="l">
              <a:buNone/>
              <a:defRPr sz="1500">
                <a:latin typeface="Allianz Neo" panose="020B05040202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Tree>
    <p:extLst>
      <p:ext uri="{BB962C8B-B14F-4D97-AF65-F5344CB8AC3E}">
        <p14:creationId xmlns:p14="http://schemas.microsoft.com/office/powerpoint/2010/main" val="8143347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
        <p:nvSpPr>
          <p:cNvPr id="17" name="Datumsplatzhalter 1">
            <a:extLst>
              <a:ext uri="{FF2B5EF4-FFF2-40B4-BE49-F238E27FC236}">
                <a16:creationId xmlns:a16="http://schemas.microsoft.com/office/drawing/2014/main" id="{2E080B7E-C6CE-4560-9592-5A09C2DE0277}"/>
              </a:ext>
            </a:extLst>
          </p:cNvPr>
          <p:cNvSpPr>
            <a:spLocks noGrp="1"/>
          </p:cNvSpPr>
          <p:nvPr>
            <p:ph type="dt" sz="half" idx="10"/>
          </p:nvPr>
        </p:nvSpPr>
        <p:spPr>
          <a:xfrm rot="-5400000">
            <a:off x="9594058" y="3726657"/>
            <a:ext cx="3384550" cy="468312"/>
          </a:xfrm>
        </p:spPr>
        <p:txBody>
          <a:bodyPr/>
          <a:lstStyle>
            <a:lvl1pPr>
              <a:defRPr>
                <a:latin typeface="Allianz Neo" panose="020B0504020203020204" pitchFamily="34" charset="0"/>
              </a:defRPr>
            </a:lvl1pPr>
          </a:lstStyle>
          <a:p>
            <a:r>
              <a:rPr lang="de-DE"/>
              <a:t>© Allianz 2022</a:t>
            </a:r>
          </a:p>
        </p:txBody>
      </p:sp>
      <p:sp>
        <p:nvSpPr>
          <p:cNvPr id="18" name="Foliennummernplatzhalter 4">
            <a:extLst>
              <a:ext uri="{FF2B5EF4-FFF2-40B4-BE49-F238E27FC236}">
                <a16:creationId xmlns:a16="http://schemas.microsoft.com/office/drawing/2014/main" id="{B79FBDAD-9508-4725-89E9-94C983654F52}"/>
              </a:ext>
            </a:extLst>
          </p:cNvPr>
          <p:cNvSpPr>
            <a:spLocks noGrp="1"/>
          </p:cNvSpPr>
          <p:nvPr>
            <p:ph type="sldNum" sz="quarter" idx="12"/>
          </p:nvPr>
        </p:nvSpPr>
        <p:spPr>
          <a:xfrm>
            <a:off x="11052174" y="5653089"/>
            <a:ext cx="468313" cy="827086"/>
          </a:xfrm>
        </p:spPr>
        <p:txBody>
          <a:bodyPr/>
          <a:lstStyle>
            <a:lvl1pPr>
              <a:defRPr>
                <a:latin typeface="Allianz Neo" panose="020B0504020203020204" pitchFamily="34" charset="0"/>
              </a:defRPr>
            </a:lvl1pPr>
          </a:lstStyle>
          <a:p>
            <a:fld id="{0F96B16C-3F5F-44BC-AFCC-8CBCBD90898D}" type="slidenum">
              <a:rPr lang="de-DE" smtClean="0"/>
              <a:pPr/>
              <a:t>‹Nr.›</a:t>
            </a:fld>
            <a:endParaRPr lang="de-DE"/>
          </a:p>
        </p:txBody>
      </p:sp>
    </p:spTree>
    <p:extLst>
      <p:ext uri="{BB962C8B-B14F-4D97-AF65-F5344CB8AC3E}">
        <p14:creationId xmlns:p14="http://schemas.microsoft.com/office/powerpoint/2010/main" val="32123248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6" name="Textplatzhalter 5"/>
          <p:cNvSpPr>
            <a:spLocks noGrp="1"/>
          </p:cNvSpPr>
          <p:nvPr>
            <p:ph type="body" sz="quarter" idx="13" hasCustomPrompt="1"/>
          </p:nvPr>
        </p:nvSpPr>
        <p:spPr>
          <a:xfrm>
            <a:off x="477838" y="468000"/>
            <a:ext cx="10294937" cy="695325"/>
          </a:xfrm>
        </p:spPr>
        <p:txBody>
          <a:bodyPr/>
          <a:lstStyle>
            <a:lvl1pPr>
              <a:lnSpc>
                <a:spcPts val="4500"/>
              </a:lnSpc>
              <a:defRPr sz="4700" baseline="0">
                <a:solidFill>
                  <a:srgbClr val="13A0D3"/>
                </a:solidFill>
                <a:latin typeface="Allianz Neo" panose="020B0504020203020204" pitchFamily="34" charset="0"/>
              </a:defRPr>
            </a:lvl1pPr>
            <a:lvl2pPr>
              <a:defRPr sz="4700">
                <a:latin typeface="Allianz Neo" panose="020B0504020203020204" pitchFamily="34" charset="0"/>
              </a:defRPr>
            </a:lvl2pPr>
            <a:lvl3pPr>
              <a:defRPr sz="4700">
                <a:latin typeface="Allianz Neo" panose="020B0504020203020204" pitchFamily="34" charset="0"/>
              </a:defRPr>
            </a:lvl3pPr>
            <a:lvl4pPr>
              <a:defRPr sz="4700">
                <a:latin typeface="Allianz Neo" panose="020B0504020203020204" pitchFamily="34" charset="0"/>
              </a:defRPr>
            </a:lvl4pPr>
            <a:lvl5pPr>
              <a:defRPr sz="4700">
                <a:latin typeface="Allianz Neo" panose="020B0504020203020204" pitchFamily="34" charset="0"/>
              </a:defRPr>
            </a:lvl5pPr>
          </a:lstStyle>
          <a:p>
            <a:pPr lvl="0"/>
            <a:r>
              <a:rPr lang="de-DE"/>
              <a:t>So funktioniert</a:t>
            </a:r>
          </a:p>
          <a:p>
            <a:pPr lvl="0"/>
            <a:r>
              <a:rPr lang="de-DE"/>
              <a:t>die Aktion</a:t>
            </a:r>
          </a:p>
        </p:txBody>
      </p:sp>
      <p:sp>
        <p:nvSpPr>
          <p:cNvPr id="15"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a:xfrm rot="-5400000">
            <a:off x="10833188" y="4965837"/>
            <a:ext cx="906122" cy="468305"/>
          </a:xfrm>
        </p:spPr>
        <p:txBody>
          <a:bodyPr/>
          <a:lstStyle/>
          <a:p>
            <a:pPr defTabSz="864006"/>
            <a:r>
              <a:rPr lang="de-DE">
                <a:solidFill>
                  <a:srgbClr val="003781"/>
                </a:solidFill>
                <a:latin typeface="Allianz Neo PPT"/>
              </a:rPr>
              <a:t>© Allianz 2022</a:t>
            </a:r>
          </a:p>
        </p:txBody>
      </p:sp>
      <p:sp>
        <p:nvSpPr>
          <p:cNvPr id="16"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a:xfrm>
            <a:off x="11052174" y="5653089"/>
            <a:ext cx="468313" cy="827086"/>
          </a:xfrm>
        </p:spPr>
        <p:txBody>
          <a:bodyPr/>
          <a:lstStyle/>
          <a:p>
            <a:pPr defTabSz="864006"/>
            <a:fld id="{0F96B16C-3F5F-44BC-AFCC-8CBCBD90898D}" type="slidenum">
              <a:rPr lang="de-DE">
                <a:solidFill>
                  <a:srgbClr val="003781"/>
                </a:solidFill>
                <a:latin typeface="Allianz Neo PPT"/>
              </a:rPr>
              <a:pPr defTabSz="864006"/>
              <a:t>‹Nr.›</a:t>
            </a:fld>
            <a:endParaRPr lang="de-DE">
              <a:solidFill>
                <a:srgbClr val="003781"/>
              </a:solidFill>
              <a:latin typeface="Allianz Neo PPT"/>
            </a:endParaRPr>
          </a:p>
        </p:txBody>
      </p:sp>
      <p:sp>
        <p:nvSpPr>
          <p:cNvPr id="8" name="Textplatzhalter 7"/>
          <p:cNvSpPr>
            <a:spLocks noGrp="1"/>
          </p:cNvSpPr>
          <p:nvPr>
            <p:ph type="body" sz="quarter" idx="14" hasCustomPrompt="1"/>
          </p:nvPr>
        </p:nvSpPr>
        <p:spPr>
          <a:xfrm>
            <a:off x="468000" y="1868400"/>
            <a:ext cx="10390187" cy="4057650"/>
          </a:xfrm>
        </p:spPr>
        <p:txBody>
          <a:bodyPr/>
          <a:lstStyle>
            <a:lvl1pPr>
              <a:defRPr sz="2000">
                <a:latin typeface="Allianz Neo" panose="020B0504020203020204" pitchFamily="34" charset="0"/>
              </a:defRPr>
            </a:lvl1pPr>
            <a:lvl2pPr>
              <a:defRPr sz="1600">
                <a:latin typeface="Allianz Neo" panose="020B0504020203020204" pitchFamily="34" charset="0"/>
              </a:defRPr>
            </a:lvl2pPr>
            <a:lvl3pPr>
              <a:defRPr sz="1600">
                <a:latin typeface="Allianz Neo" panose="020B0504020203020204" pitchFamily="34" charset="0"/>
              </a:defRPr>
            </a:lvl3pPr>
            <a:lvl4pPr>
              <a:defRPr sz="1600">
                <a:latin typeface="Allianz Neo" panose="020B0504020203020204" pitchFamily="34" charset="0"/>
              </a:defRPr>
            </a:lvl4pPr>
            <a:lvl5pPr>
              <a:defRPr sz="2000">
                <a:latin typeface="Allianz Neo" panose="020B0504020203020204" pitchFamily="34" charset="0"/>
              </a:defRPr>
            </a:lvl5pPr>
          </a:lstStyle>
          <a:p>
            <a:pPr lvl="0"/>
            <a:r>
              <a:rPr lang="de-DE"/>
              <a:t>Text</a:t>
            </a:r>
          </a:p>
        </p:txBody>
      </p:sp>
    </p:spTree>
    <p:extLst>
      <p:ext uri="{BB962C8B-B14F-4D97-AF65-F5344CB8AC3E}">
        <p14:creationId xmlns:p14="http://schemas.microsoft.com/office/powerpoint/2010/main" val="164682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815626687"/>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0126471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651500" y="1"/>
            <a:ext cx="5868988"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4" y="1800000"/>
            <a:ext cx="5075237" cy="2268000"/>
          </a:xfrm>
        </p:spPr>
        <p:txBody>
          <a:bodyPr rIns="216000" anchor="ctr" anchorCtr="0"/>
          <a:lstStyle>
            <a:lvl1pPr algn="l">
              <a:lnSpc>
                <a:spcPct val="80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4" y="4536001"/>
            <a:ext cx="5075237" cy="531099"/>
          </a:xfrm>
        </p:spPr>
        <p:txBody>
          <a:bodyPr rIns="216000"/>
          <a:lstStyle>
            <a:lvl1pPr marL="0" indent="0" algn="l">
              <a:buNone/>
              <a:defRPr sz="1500"/>
            </a:lvl1pPr>
            <a:lvl2pPr marL="457195" indent="0" algn="ctr">
              <a:buNone/>
              <a:defRPr sz="2000"/>
            </a:lvl2pPr>
            <a:lvl3pPr marL="914389" indent="0" algn="ctr">
              <a:buNone/>
              <a:defRPr sz="1800"/>
            </a:lvl3pPr>
            <a:lvl4pPr marL="1371583" indent="0" algn="ctr">
              <a:buNone/>
              <a:defRPr sz="1600"/>
            </a:lvl4pPr>
            <a:lvl5pPr marL="1828777" indent="0" algn="ctr">
              <a:buNone/>
              <a:defRPr sz="1600"/>
            </a:lvl5pPr>
            <a:lvl6pPr marL="2285972" indent="0" algn="ctr">
              <a:buNone/>
              <a:defRPr sz="1600"/>
            </a:lvl6pPr>
            <a:lvl7pPr marL="2743167" indent="0" algn="ctr">
              <a:buNone/>
              <a:defRPr sz="1600"/>
            </a:lvl7pPr>
            <a:lvl8pPr marL="3200360" indent="0" algn="ctr">
              <a:buNone/>
              <a:defRPr sz="1600"/>
            </a:lvl8pPr>
            <a:lvl9pPr marL="3657555" indent="0" algn="ctr">
              <a:buNone/>
              <a:defRPr sz="1600"/>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750"/>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750"/>
            </a:lvl1pPr>
          </a:lstStyle>
          <a:p>
            <a:pPr lvl="0"/>
            <a:r>
              <a:rPr lang="de-DE"/>
              <a:t>Erste Ebene</a:t>
            </a:r>
          </a:p>
        </p:txBody>
      </p:sp>
    </p:spTree>
    <p:extLst>
      <p:ext uri="{BB962C8B-B14F-4D97-AF65-F5344CB8AC3E}">
        <p14:creationId xmlns:p14="http://schemas.microsoft.com/office/powerpoint/2010/main" val="35380184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5528004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9"/>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51735" y="2268539"/>
            <a:ext cx="5075237"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894616847"/>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833299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8010456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AZ Blank + Colo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lvl1pPr>
              <a:defRPr>
                <a:solidFill>
                  <a:schemeClr val="tx1"/>
                </a:solidFill>
              </a:defRPr>
            </a:lvl1p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319778"/>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174F1EA0-7738-46BE-A0A5-83AD2F0E50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276399622"/>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885902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AZ Blank + Colo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lvl1pPr>
              <a:defRPr>
                <a:solidFill>
                  <a:schemeClr val="tx1"/>
                </a:solidFill>
              </a:defRPr>
            </a:lvl1p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Z Quot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144000"/>
            <a:ext cx="1044000" cy="885704"/>
          </a:xfrm>
          <a:prstGeom prst="rect">
            <a:avLst/>
          </a:prstGeom>
        </p:spPr>
      </p:pic>
      <p:sp>
        <p:nvSpPr>
          <p:cNvPr id="8" name="Inhaltsplatzhalter 2">
            <a:extLst>
              <a:ext uri="{FF2B5EF4-FFF2-40B4-BE49-F238E27FC236}">
                <a16:creationId xmlns:a16="http://schemas.microsoft.com/office/drawing/2014/main" id="{A1DB0DDD-4B70-4A6A-9137-29788C242895}"/>
              </a:ext>
            </a:extLst>
          </p:cNvPr>
          <p:cNvSpPr>
            <a:spLocks noGrp="1"/>
          </p:cNvSpPr>
          <p:nvPr>
            <p:ph sz="quarter" idx="15"/>
          </p:nvPr>
        </p:nvSpPr>
        <p:spPr>
          <a:xfrm>
            <a:off x="468313" y="1368426"/>
            <a:ext cx="10367962" cy="4284663"/>
          </a:xfrm>
        </p:spPr>
        <p:txBody>
          <a:bodyPr/>
          <a:lstStyle>
            <a:lvl1pPr>
              <a:lnSpc>
                <a:spcPct val="80000"/>
              </a:lnSpc>
              <a:spcAft>
                <a:spcPts val="2400"/>
              </a:spcAft>
              <a:defRPr sz="4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2739432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Z Keyvisua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1"/>
            <a:ext cx="11520488" cy="6480175"/>
          </a:xfrm>
          <a:solidFill>
            <a:schemeClr val="bg2"/>
          </a:solidFill>
        </p:spPr>
        <p:txBody>
          <a:bodyPr/>
          <a:lstStyle>
            <a:lvl1pPr>
              <a:defRPr>
                <a:solidFill>
                  <a:schemeClr val="tx1"/>
                </a:solidFill>
              </a:defRPr>
            </a:lvl1pPr>
          </a:lstStyle>
          <a:p>
            <a:endParaRPr lang="de-DE"/>
          </a:p>
        </p:txBody>
      </p:sp>
      <p:sp>
        <p:nvSpPr>
          <p:cNvPr id="3" name="Datumsplatzhalter 2">
            <a:extLst>
              <a:ext uri="{FF2B5EF4-FFF2-40B4-BE49-F238E27FC236}">
                <a16:creationId xmlns:a16="http://schemas.microsoft.com/office/drawing/2014/main" id="{22F37F0F-CC12-4317-9811-C30269EDD386}"/>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5" name="Foliennummernplatzhalter 4">
            <a:extLst>
              <a:ext uri="{FF2B5EF4-FFF2-40B4-BE49-F238E27FC236}">
                <a16:creationId xmlns:a16="http://schemas.microsoft.com/office/drawing/2014/main" id="{A69577E3-FEC7-432A-BEA6-FED227457CE8}"/>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988000" y="3528000"/>
            <a:ext cx="5544000" cy="2125088"/>
          </a:xfrm>
        </p:spPr>
        <p:txBody>
          <a:bodyPr/>
          <a:lstStyle>
            <a:lvl1pPr>
              <a:lnSpc>
                <a:spcPct val="80000"/>
              </a:lnSpc>
              <a:defRPr sz="4700">
                <a:solidFill>
                  <a:schemeClr val="tx1"/>
                </a:solidFill>
              </a:defRPr>
            </a:lvl1pPr>
            <a:lvl2pPr algn="r">
              <a:lnSpc>
                <a:spcPct val="80000"/>
              </a:lnSpc>
              <a:defRPr sz="47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Tree>
    <p:extLst>
      <p:ext uri="{BB962C8B-B14F-4D97-AF65-F5344CB8AC3E}">
        <p14:creationId xmlns:p14="http://schemas.microsoft.com/office/powerpoint/2010/main" val="31846117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1"/>
            <a:ext cx="12096000" cy="3384549"/>
          </a:xfrm>
        </p:spPr>
        <p:txBody>
          <a:bodyPr rIns="216000"/>
          <a:lstStyle>
            <a:lvl1pPr marL="0" indent="0" algn="l">
              <a:lnSpc>
                <a:spcPct val="80000"/>
              </a:lnSpc>
              <a:buNone/>
              <a:defRPr sz="18900">
                <a:solidFill>
                  <a:srgbClr val="13A0D3"/>
                </a:solidFill>
              </a:defRPr>
            </a:lvl1pPr>
            <a:lvl2pPr marL="457195" indent="0" algn="ctr">
              <a:buNone/>
              <a:defRPr sz="2000"/>
            </a:lvl2pPr>
            <a:lvl3pPr marL="914389" indent="0" algn="ctr">
              <a:buNone/>
              <a:defRPr sz="1800"/>
            </a:lvl3pPr>
            <a:lvl4pPr marL="1371583" indent="0" algn="ctr">
              <a:buNone/>
              <a:defRPr sz="1600"/>
            </a:lvl4pPr>
            <a:lvl5pPr marL="1828777" indent="0" algn="ctr">
              <a:buNone/>
              <a:defRPr sz="1600"/>
            </a:lvl5pPr>
            <a:lvl6pPr marL="2285972" indent="0" algn="ctr">
              <a:buNone/>
              <a:defRPr sz="1600"/>
            </a:lvl6pPr>
            <a:lvl7pPr marL="2743167" indent="0" algn="ctr">
              <a:buNone/>
              <a:defRPr sz="1600"/>
            </a:lvl7pPr>
            <a:lvl8pPr marL="3200360" indent="0" algn="ctr">
              <a:buNone/>
              <a:defRPr sz="1600"/>
            </a:lvl8pPr>
            <a:lvl9pPr marL="3657555"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8" name="Grafik 7">
            <a:extLst>
              <a:ext uri="{FF2B5EF4-FFF2-40B4-BE49-F238E27FC236}">
                <a16:creationId xmlns:a16="http://schemas.microsoft.com/office/drawing/2014/main" id="{461BDC56-BD94-4C43-90E8-CBB9A53F269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8289759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Z Chapter Divider2">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3" y="1692001"/>
            <a:ext cx="10367963" cy="1584000"/>
          </a:xfrm>
        </p:spPr>
        <p:txBody>
          <a:bodyPr rIns="216000" anchor="b" anchorCtr="0"/>
          <a:lstStyle>
            <a:lvl1pPr algn="l">
              <a:lnSpc>
                <a:spcPct val="80000"/>
              </a:lnSpc>
              <a:defRPr sz="94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rgbClr val="13A0D3"/>
                </a:solidFill>
              </a:defRPr>
            </a:lvl1pPr>
            <a:lvl2pPr marL="457195" indent="0" algn="ctr">
              <a:buNone/>
              <a:defRPr sz="2000"/>
            </a:lvl2pPr>
            <a:lvl3pPr marL="914389" indent="0" algn="ctr">
              <a:buNone/>
              <a:defRPr sz="1800"/>
            </a:lvl3pPr>
            <a:lvl4pPr marL="1371583" indent="0" algn="ctr">
              <a:buNone/>
              <a:defRPr sz="1600"/>
            </a:lvl4pPr>
            <a:lvl5pPr marL="1828777" indent="0" algn="ctr">
              <a:buNone/>
              <a:defRPr sz="1600"/>
            </a:lvl5pPr>
            <a:lvl6pPr marL="2285972" indent="0" algn="ctr">
              <a:buNone/>
              <a:defRPr sz="1600"/>
            </a:lvl6pPr>
            <a:lvl7pPr marL="2743167" indent="0" algn="ctr">
              <a:buNone/>
              <a:defRPr sz="1600"/>
            </a:lvl7pPr>
            <a:lvl8pPr marL="3200360" indent="0" algn="ctr">
              <a:buNone/>
              <a:defRPr sz="1600"/>
            </a:lvl8pPr>
            <a:lvl9pPr marL="3657555"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6" name="Grafik 5">
            <a:extLst>
              <a:ext uri="{FF2B5EF4-FFF2-40B4-BE49-F238E27FC236}">
                <a16:creationId xmlns:a16="http://schemas.microsoft.com/office/drawing/2014/main" id="{D030324D-388D-4C97-AE26-194C8D2A9E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6290330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Z Chapter Divider3">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3" y="1692001"/>
            <a:ext cx="10367963" cy="1584000"/>
          </a:xfrm>
        </p:spPr>
        <p:txBody>
          <a:bodyPr rIns="216000" anchor="b" anchorCtr="0"/>
          <a:lstStyle>
            <a:lvl1pPr algn="l">
              <a:lnSpc>
                <a:spcPct val="80000"/>
              </a:lnSpc>
              <a:defRPr sz="94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chemeClr val="tx1"/>
                </a:solidFill>
              </a:defRPr>
            </a:lvl1pPr>
            <a:lvl2pPr marL="457195" indent="0" algn="ctr">
              <a:buNone/>
              <a:defRPr sz="2000"/>
            </a:lvl2pPr>
            <a:lvl3pPr marL="914389" indent="0" algn="ctr">
              <a:buNone/>
              <a:defRPr sz="1800"/>
            </a:lvl3pPr>
            <a:lvl4pPr marL="1371583" indent="0" algn="ctr">
              <a:buNone/>
              <a:defRPr sz="1600"/>
            </a:lvl4pPr>
            <a:lvl5pPr marL="1828777" indent="0" algn="ctr">
              <a:buNone/>
              <a:defRPr sz="1600"/>
            </a:lvl5pPr>
            <a:lvl6pPr marL="2285972" indent="0" algn="ctr">
              <a:buNone/>
              <a:defRPr sz="1600"/>
            </a:lvl6pPr>
            <a:lvl7pPr marL="2743167" indent="0" algn="ctr">
              <a:buNone/>
              <a:defRPr sz="1600"/>
            </a:lvl7pPr>
            <a:lvl8pPr marL="3200360" indent="0" algn="ctr">
              <a:buNone/>
              <a:defRPr sz="1600"/>
            </a:lvl8pPr>
            <a:lvl9pPr marL="3657555"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5" name="Grafik 4">
            <a:extLst>
              <a:ext uri="{FF2B5EF4-FFF2-40B4-BE49-F238E27FC236}">
                <a16:creationId xmlns:a16="http://schemas.microsoft.com/office/drawing/2014/main" id="{0CFDCE14-724D-49F7-8BAD-435E832695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42384066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9"/>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9"/>
            <a:ext cx="3313112"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1" y="2268000"/>
            <a:ext cx="3311525"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92296586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imple Content one wide Column">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E58CF048-5364-F343-A6A5-A500152737DA}"/>
              </a:ext>
            </a:extLst>
          </p:cNvPr>
          <p:cNvSpPr/>
          <p:nvPr userDrawn="1"/>
        </p:nvSpPr>
        <p:spPr>
          <a:xfrm>
            <a:off x="1" y="2"/>
            <a:ext cx="8174347" cy="725852"/>
          </a:xfrm>
          <a:prstGeom prst="rect">
            <a:avLst/>
          </a:prstGeom>
          <a:solidFill>
            <a:schemeClr val="tx2">
              <a:lumMod val="20000"/>
              <a:lumOff val="80000"/>
            </a:schemeClr>
          </a:solidFill>
          <a:ln>
            <a:noFill/>
          </a:ln>
        </p:spPr>
        <p:txBody>
          <a:bodyPr rot="0" spcFirstLastPara="0" vertOverflow="overflow" horzOverflow="overflow" vert="horz" wrap="square" lIns="102024" tIns="102024" rIns="102024" bIns="102024" numCol="1" spcCol="0" rtlCol="0" fromWordArt="0" anchor="t" anchorCtr="0" forceAA="0" compatLnSpc="1">
            <a:prstTxWarp prst="textNoShape">
              <a:avLst/>
            </a:prstTxWarp>
            <a:noAutofit/>
          </a:bodyPr>
          <a:lstStyle/>
          <a:p>
            <a:pPr algn="l">
              <a:spcBef>
                <a:spcPts val="94"/>
              </a:spcBef>
              <a:spcAft>
                <a:spcPts val="94"/>
              </a:spcAft>
            </a:pPr>
            <a:endParaRPr lang="de-DE" sz="1323"/>
          </a:p>
        </p:txBody>
      </p:sp>
      <p:sp>
        <p:nvSpPr>
          <p:cNvPr id="7" name="Freeform 54"/>
          <p:cNvSpPr>
            <a:spLocks noEditPoints="1"/>
          </p:cNvSpPr>
          <p:nvPr/>
        </p:nvSpPr>
        <p:spPr bwMode="auto">
          <a:xfrm>
            <a:off x="10760568" y="246290"/>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2" tIns="57585" rIns="115172" bIns="57585" numCol="1" anchor="t" anchorCtr="0" compatLnSpc="1">
            <a:prstTxWarp prst="textNoShape">
              <a:avLst/>
            </a:prstTxWarp>
          </a:bodyPr>
          <a:lstStyle/>
          <a:p>
            <a:pPr marL="0" marR="0" lvl="0" indent="0" defTabSz="1151736"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480017" y="1445705"/>
            <a:ext cx="10572390" cy="4572458"/>
          </a:xfrm>
          <a:prstGeom prst="rect">
            <a:avLst/>
          </a:prstGeom>
        </p:spPr>
        <p:txBody>
          <a:bodyPr rIns="0"/>
          <a:lstStyle>
            <a:lvl1pPr>
              <a:lnSpc>
                <a:spcPts val="1814"/>
              </a:lnSpc>
              <a:spcAft>
                <a:spcPts val="0"/>
              </a:spcAft>
              <a:defRPr lang="en-GB" sz="1700" b="0" kern="1200" cap="none" baseline="0" noProof="0" dirty="0" smtClean="0">
                <a:solidFill>
                  <a:schemeClr val="tx1"/>
                </a:solidFill>
                <a:latin typeface="+mn-lt"/>
                <a:ea typeface="+mn-ea"/>
                <a:cs typeface="+mn-cs"/>
              </a:defRPr>
            </a:lvl1pPr>
            <a:lvl2pPr>
              <a:defRPr lang="de-DE" sz="1700" kern="1200" dirty="0" smtClean="0">
                <a:solidFill>
                  <a:schemeClr val="tx1"/>
                </a:solidFill>
                <a:latin typeface="+mn-lt"/>
                <a:ea typeface="+mn-ea"/>
                <a:cs typeface="+mn-cs"/>
              </a:defRPr>
            </a:lvl2pPr>
            <a:lvl3pPr>
              <a:defRPr sz="1512">
                <a:solidFill>
                  <a:schemeClr val="tx1"/>
                </a:solidFill>
              </a:defRPr>
            </a:lvl3pPr>
            <a:lvl4pPr>
              <a:defRPr sz="1512">
                <a:solidFill>
                  <a:schemeClr val="tx1"/>
                </a:solidFill>
              </a:defRPr>
            </a:lvl4pPr>
            <a:lvl5pPr>
              <a:defRPr sz="1417">
                <a:solidFill>
                  <a:schemeClr val="tx1"/>
                </a:solidFill>
              </a:defRPr>
            </a:lvl5pPr>
            <a:lvl6pPr>
              <a:defRPr sz="1417">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151736" rtl="0" eaLnBrk="1" fontAlgn="auto" latinLnBrk="0" hangingPunct="1">
              <a:lnSpc>
                <a:spcPct val="100000"/>
              </a:lnSpc>
              <a:spcBef>
                <a:spcPts val="252"/>
              </a:spcBef>
              <a:spcAft>
                <a:spcPts val="252"/>
              </a:spcAft>
              <a:buClrTx/>
              <a:buSzTx/>
              <a:buFont typeface="Arial" panose="020B0604020202020204" pitchFamily="34" charset="0"/>
              <a:buNone/>
              <a:tabLst/>
            </a:pPr>
            <a:r>
              <a:rPr lang="en-GB" noProof="0"/>
              <a:t>1</a:t>
            </a:r>
          </a:p>
          <a:p>
            <a:pPr lvl="1"/>
            <a:r>
              <a:rPr lang="en-GB" noProof="0"/>
              <a:t>2</a:t>
            </a:r>
          </a:p>
          <a:p>
            <a:pPr lvl="2"/>
            <a:r>
              <a:rPr lang="en-GB" noProof="0"/>
              <a:t>3</a:t>
            </a:r>
          </a:p>
          <a:p>
            <a:pPr lvl="3"/>
            <a:r>
              <a:rPr lang="en-GB" noProof="0"/>
              <a:t>4</a:t>
            </a:r>
          </a:p>
          <a:p>
            <a:pPr lvl="4"/>
            <a:r>
              <a:rPr lang="en-GB" noProof="0"/>
              <a:t>5</a:t>
            </a:r>
          </a:p>
          <a:p>
            <a:pPr lvl="5"/>
            <a:r>
              <a:rPr lang="en-GB" noProof="0"/>
              <a:t>6</a:t>
            </a:r>
          </a:p>
          <a:p>
            <a:pPr lvl="6"/>
            <a:r>
              <a:rPr lang="en-GB" noProof="0"/>
              <a:t>7</a:t>
            </a:r>
          </a:p>
          <a:p>
            <a:pPr lvl="7"/>
            <a:r>
              <a:rPr lang="en-GB" noProof="0"/>
              <a:t>8</a:t>
            </a:r>
          </a:p>
          <a:p>
            <a:pPr lvl="8"/>
            <a:r>
              <a:rPr lang="en-GB" noProof="0"/>
              <a:t>9</a:t>
            </a:r>
          </a:p>
        </p:txBody>
      </p:sp>
      <p:sp>
        <p:nvSpPr>
          <p:cNvPr id="137" name="Freeform 54"/>
          <p:cNvSpPr>
            <a:spLocks noEditPoints="1"/>
          </p:cNvSpPr>
          <p:nvPr/>
        </p:nvSpPr>
        <p:spPr bwMode="auto">
          <a:xfrm>
            <a:off x="10760568" y="246290"/>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2" tIns="57585" rIns="115172" bIns="57585" numCol="1" anchor="t" anchorCtr="0" compatLnSpc="1">
            <a:prstTxWarp prst="textNoShape">
              <a:avLst/>
            </a:prstTxWarp>
          </a:bodyPr>
          <a:lstStyle/>
          <a:p>
            <a:pPr marL="0" marR="0" lvl="0" indent="0" defTabSz="1151736"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a:ln>
                <a:noFill/>
              </a:ln>
              <a:solidFill>
                <a:srgbClr val="003781"/>
              </a:solidFill>
              <a:effectLst/>
              <a:uLnTx/>
              <a:uFillTx/>
            </a:endParaRPr>
          </a:p>
        </p:txBody>
      </p:sp>
      <p:sp>
        <p:nvSpPr>
          <p:cNvPr id="5" name="Foliennummernplatzhalter 4"/>
          <p:cNvSpPr>
            <a:spLocks noGrp="1"/>
          </p:cNvSpPr>
          <p:nvPr>
            <p:ph type="sldNum" sz="quarter" idx="18"/>
          </p:nvPr>
        </p:nvSpPr>
        <p:spPr/>
        <p:txBody>
          <a:bodyPr/>
          <a:lstStyle/>
          <a:p>
            <a:fld id="{61201FF1-C63B-412E-ABF0-3D0E918900AC}" type="slidenum">
              <a:rPr lang="en-GB" smtClean="0"/>
              <a:pPr/>
              <a:t>‹Nr.›</a:t>
            </a:fld>
            <a:endParaRPr lang="en-GB"/>
          </a:p>
        </p:txBody>
      </p:sp>
      <p:sp>
        <p:nvSpPr>
          <p:cNvPr id="12" name="Titel 22"/>
          <p:cNvSpPr>
            <a:spLocks noGrp="1"/>
          </p:cNvSpPr>
          <p:nvPr>
            <p:ph type="title" hasCustomPrompt="1"/>
          </p:nvPr>
        </p:nvSpPr>
        <p:spPr>
          <a:xfrm>
            <a:off x="480022" y="487400"/>
            <a:ext cx="10086430" cy="485902"/>
          </a:xfrm>
        </p:spPr>
        <p:txBody>
          <a:bodyPr tIns="36000"/>
          <a:lstStyle>
            <a:lvl1pPr>
              <a:defRPr sz="2834"/>
            </a:lvl1pPr>
          </a:lstStyle>
          <a:p>
            <a:r>
              <a:rPr lang="de-DE"/>
              <a:t>TitLE</a:t>
            </a:r>
            <a:endParaRPr lang="en-GB"/>
          </a:p>
        </p:txBody>
      </p:sp>
      <p:sp>
        <p:nvSpPr>
          <p:cNvPr id="13" name="Textplatzhalter 5"/>
          <p:cNvSpPr>
            <a:spLocks noGrp="1"/>
          </p:cNvSpPr>
          <p:nvPr>
            <p:ph type="body" sz="quarter" idx="20" hasCustomPrompt="1"/>
          </p:nvPr>
        </p:nvSpPr>
        <p:spPr>
          <a:xfrm>
            <a:off x="486084" y="245950"/>
            <a:ext cx="5273410" cy="146970"/>
          </a:xfrm>
        </p:spPr>
        <p:txBody>
          <a:bodyPr/>
          <a:lstStyle>
            <a:lvl1pPr>
              <a:defRPr sz="945" kern="900" baseline="0"/>
            </a:lvl1pPr>
            <a:lvl2pPr>
              <a:defRPr sz="1134"/>
            </a:lvl2pPr>
            <a:lvl3pPr>
              <a:defRPr sz="1134"/>
            </a:lvl3pPr>
            <a:lvl4pPr>
              <a:defRPr sz="1134"/>
            </a:lvl4pPr>
            <a:lvl5pPr>
              <a:defRPr sz="1134"/>
            </a:lvl5pPr>
          </a:lstStyle>
          <a:p>
            <a:pPr lvl="0"/>
            <a:r>
              <a:rPr lang="de-DE" err="1"/>
              <a:t>Subject</a:t>
            </a:r>
            <a:r>
              <a:rPr lang="de-DE"/>
              <a:t> Line </a:t>
            </a:r>
            <a:r>
              <a:rPr lang="de-DE" err="1"/>
              <a:t>for</a:t>
            </a:r>
            <a:r>
              <a:rPr lang="de-DE"/>
              <a:t> Navigation</a:t>
            </a:r>
          </a:p>
        </p:txBody>
      </p:sp>
      <p:sp>
        <p:nvSpPr>
          <p:cNvPr id="15" name="Datumsplatzhalter 3">
            <a:extLst>
              <a:ext uri="{FF2B5EF4-FFF2-40B4-BE49-F238E27FC236}">
                <a16:creationId xmlns:a16="http://schemas.microsoft.com/office/drawing/2014/main" id="{0F670A6A-2297-1A4C-8608-E36A4EBC89A2}"/>
              </a:ext>
            </a:extLst>
          </p:cNvPr>
          <p:cNvSpPr>
            <a:spLocks noGrp="1"/>
          </p:cNvSpPr>
          <p:nvPr>
            <p:ph type="dt" sz="half" idx="2"/>
          </p:nvPr>
        </p:nvSpPr>
        <p:spPr>
          <a:xfrm>
            <a:off x="1745248" y="6135186"/>
            <a:ext cx="544406" cy="232628"/>
          </a:xfrm>
          <a:prstGeom prst="rect">
            <a:avLst/>
          </a:prstGeom>
        </p:spPr>
        <p:txBody>
          <a:bodyPr wrap="square" lIns="0" tIns="0" rIns="0" bIns="0">
            <a:spAutoFit/>
          </a:bodyPr>
          <a:lstStyle/>
          <a:p>
            <a:fld id="{CDCBB2D3-AC70-0543-A687-84CFA9437C48}" type="datetime1">
              <a:rPr lang="de-DE" sz="756" smtClean="0"/>
              <a:t>17.05.2024</a:t>
            </a:fld>
            <a:r>
              <a:rPr lang="de-DE" sz="756"/>
              <a:t>.20</a:t>
            </a:r>
            <a:endParaRPr lang="en-GB" sz="756"/>
          </a:p>
        </p:txBody>
      </p:sp>
    </p:spTree>
    <p:extLst>
      <p:ext uri="{BB962C8B-B14F-4D97-AF65-F5344CB8AC3E}">
        <p14:creationId xmlns:p14="http://schemas.microsoft.com/office/powerpoint/2010/main" val="3246703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174F1EA0-7738-46BE-A0A5-83AD2F0E50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83740693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Z Quot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8313" y="-144000"/>
            <a:ext cx="1044000" cy="885704"/>
          </a:xfrm>
          <a:prstGeom prst="rect">
            <a:avLst/>
          </a:prstGeom>
        </p:spPr>
      </p:pic>
      <p:sp>
        <p:nvSpPr>
          <p:cNvPr id="8" name="Inhaltsplatzhalter 2">
            <a:extLst>
              <a:ext uri="{FF2B5EF4-FFF2-40B4-BE49-F238E27FC236}">
                <a16:creationId xmlns:a16="http://schemas.microsoft.com/office/drawing/2014/main" id="{A1DB0DDD-4B70-4A6A-9137-29788C242895}"/>
              </a:ext>
            </a:extLst>
          </p:cNvPr>
          <p:cNvSpPr>
            <a:spLocks noGrp="1"/>
          </p:cNvSpPr>
          <p:nvPr>
            <p:ph sz="quarter" idx="15"/>
          </p:nvPr>
        </p:nvSpPr>
        <p:spPr>
          <a:xfrm>
            <a:off x="468313" y="1368425"/>
            <a:ext cx="10367962" cy="4284663"/>
          </a:xfrm>
        </p:spPr>
        <p:txBody>
          <a:bodyPr/>
          <a:lstStyle>
            <a:lvl1pPr>
              <a:lnSpc>
                <a:spcPct val="80000"/>
              </a:lnSpc>
              <a:spcAft>
                <a:spcPts val="2400"/>
              </a:spcAft>
              <a:defRPr sz="4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01692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2.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oleObject" Target="../embeddings/oleObject1.bin"/><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ags" Target="../tags/tag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2.sv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1.png"/><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image" Target="../media/image9.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5.xml"/><Relationship Id="rId5" Type="http://schemas.openxmlformats.org/officeDocument/2006/relationships/slideLayout" Target="../slideLayouts/slideLayout51.xml"/><Relationship Id="rId4"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6" Type="http://schemas.openxmlformats.org/officeDocument/2006/relationships/theme" Target="../theme/theme6.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fld id="{0F96B16C-3F5F-44BC-AFCC-8CBCBD90898D}" type="slidenum">
              <a:rPr lang="de-DE" smtClean="0"/>
              <a:pPr/>
              <a:t>‹Nr.›</a:t>
            </a:fld>
            <a:endParaRPr lang="de-DE"/>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b="1" spc="1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5" r:id="rId5"/>
    <p:sldLayoutId id="2147483684" r:id="rId6"/>
    <p:sldLayoutId id="2147483686" r:id="rId7"/>
    <p:sldLayoutId id="2147483687" r:id="rId8"/>
    <p:sldLayoutId id="2147483688" r:id="rId9"/>
    <p:sldLayoutId id="2147483661" r:id="rId10"/>
    <p:sldLayoutId id="2147483689" r:id="rId11"/>
    <p:sldLayoutId id="2147483690" r:id="rId12"/>
    <p:sldLayoutId id="2147483665" r:id="rId13"/>
    <p:sldLayoutId id="2147483663" r:id="rId14"/>
    <p:sldLayoutId id="2147483692" r:id="rId15"/>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userDrawn="1">
          <p15:clr>
            <a:srgbClr val="F26B43"/>
          </p15:clr>
        </p15:guide>
        <p15:guide id="2" pos="6826" userDrawn="1">
          <p15:clr>
            <a:srgbClr val="F26B43"/>
          </p15:clr>
        </p15:guide>
        <p15:guide id="3" orient="horz" pos="295" userDrawn="1">
          <p15:clr>
            <a:srgbClr val="F26B43"/>
          </p15:clr>
        </p15:guide>
        <p15:guide id="6" orient="horz" pos="3561" userDrawn="1">
          <p15:clr>
            <a:srgbClr val="F26B43"/>
          </p15:clr>
        </p15:guide>
        <p15:guide id="9" pos="1270" userDrawn="1">
          <p15:clr>
            <a:srgbClr val="F26B43"/>
          </p15:clr>
        </p15:guide>
        <p15:guide id="10" pos="1406" userDrawn="1">
          <p15:clr>
            <a:srgbClr val="F26B43"/>
          </p15:clr>
        </p15:guide>
        <p15:guide id="11" pos="2381" userDrawn="1">
          <p15:clr>
            <a:srgbClr val="F26B43"/>
          </p15:clr>
        </p15:guide>
        <p15:guide id="12" pos="2517" userDrawn="1">
          <p15:clr>
            <a:srgbClr val="F26B43"/>
          </p15:clr>
        </p15:guide>
        <p15:guide id="13" pos="3492" userDrawn="1">
          <p15:clr>
            <a:srgbClr val="F26B43"/>
          </p15:clr>
        </p15:guide>
        <p15:guide id="14" pos="3629" userDrawn="1">
          <p15:clr>
            <a:srgbClr val="F26B43"/>
          </p15:clr>
        </p15:guide>
        <p15:guide id="15" pos="4604" userDrawn="1">
          <p15:clr>
            <a:srgbClr val="F26B43"/>
          </p15:clr>
        </p15:guide>
        <p15:guide id="16" pos="4740" userDrawn="1">
          <p15:clr>
            <a:srgbClr val="F26B43"/>
          </p15:clr>
        </p15:guide>
        <p15:guide id="17" pos="5715" userDrawn="1">
          <p15:clr>
            <a:srgbClr val="F26B43"/>
          </p15:clr>
        </p15:guide>
        <p15:guide id="18" pos="5851" userDrawn="1">
          <p15:clr>
            <a:srgbClr val="F26B43"/>
          </p15:clr>
        </p15:guide>
        <p15:guide id="19" orient="horz" pos="726" userDrawn="1">
          <p15:clr>
            <a:srgbClr val="F26B43"/>
          </p15:clr>
        </p15:guide>
        <p15:guide id="20" orient="horz" pos="862" userDrawn="1">
          <p15:clr>
            <a:srgbClr val="F26B43"/>
          </p15:clr>
        </p15:guide>
        <p15:guide id="21" orient="horz" pos="1293" userDrawn="1">
          <p15:clr>
            <a:srgbClr val="F26B43"/>
          </p15:clr>
        </p15:guide>
        <p15:guide id="22" orient="horz" pos="14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2"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tx1"/>
                </a:solidFill>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tx1"/>
                </a:solidFill>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tx1"/>
                </a:solidFill>
              </a:defRPr>
            </a:lvl1pPr>
          </a:lstStyle>
          <a:p>
            <a:fld id="{0F96B16C-3F5F-44BC-AFCC-8CBCBD90898D}" type="slidenum">
              <a:rPr lang="de-DE" smtClean="0"/>
              <a:pPr/>
              <a:t>‹Nr.›</a:t>
            </a:fld>
            <a:endParaRPr lang="de-DE"/>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b="1" spc="1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0" r:id="rId1"/>
    <p:sldLayoutId id="2147483673" r:id="rId2"/>
    <p:sldLayoutId id="2147483678" r:id="rId3"/>
    <p:sldLayoutId id="2147483681" r:id="rId4"/>
    <p:sldLayoutId id="2147483683" r:id="rId5"/>
    <p:sldLayoutId id="2147483685" r:id="rId6"/>
    <p:sldLayoutId id="2147483671" r:id="rId7"/>
    <p:sldLayoutId id="2147483672" r:id="rId8"/>
    <p:sldLayoutId id="2147483675" r:id="rId9"/>
    <p:sldLayoutId id="2147483679" r:id="rId10"/>
  </p:sldLayoutIdLst>
  <p:hf hdr="0"/>
  <p:txStyles>
    <p:titleStyle>
      <a:lvl1pPr algn="l" defTabSz="914400" rtl="0" eaLnBrk="1" latinLnBrk="0" hangingPunct="1">
        <a:lnSpc>
          <a:spcPct val="80000"/>
        </a:lnSpc>
        <a:spcBef>
          <a:spcPct val="0"/>
        </a:spcBef>
        <a:buNone/>
        <a:defRPr sz="47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tx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tx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tx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p15:clr>
            <a:srgbClr val="F26B43"/>
          </p15:clr>
        </p15:guide>
        <p15:guide id="2" pos="6826" userDrawn="1">
          <p15:clr>
            <a:srgbClr val="F26B43"/>
          </p15:clr>
        </p15:guide>
        <p15:guide id="3" orient="horz" pos="295">
          <p15:clr>
            <a:srgbClr val="F26B43"/>
          </p15:clr>
        </p15:guide>
        <p15:guide id="6" orient="horz" pos="3561">
          <p15:clr>
            <a:srgbClr val="F26B43"/>
          </p15:clr>
        </p15:guide>
        <p15:guide id="9" pos="1270" userDrawn="1">
          <p15:clr>
            <a:srgbClr val="F26B43"/>
          </p15:clr>
        </p15:guide>
        <p15:guide id="10" pos="1406" userDrawn="1">
          <p15:clr>
            <a:srgbClr val="F26B43"/>
          </p15:clr>
        </p15:guide>
        <p15:guide id="11" pos="2381" userDrawn="1">
          <p15:clr>
            <a:srgbClr val="F26B43"/>
          </p15:clr>
        </p15:guide>
        <p15:guide id="12" pos="2517" userDrawn="1">
          <p15:clr>
            <a:srgbClr val="F26B43"/>
          </p15:clr>
        </p15:guide>
        <p15:guide id="13" pos="3492" userDrawn="1">
          <p15:clr>
            <a:srgbClr val="F26B43"/>
          </p15:clr>
        </p15:guide>
        <p15:guide id="14" pos="3629" userDrawn="1">
          <p15:clr>
            <a:srgbClr val="F26B43"/>
          </p15:clr>
        </p15:guide>
        <p15:guide id="15" pos="4604" userDrawn="1">
          <p15:clr>
            <a:srgbClr val="F26B43"/>
          </p15:clr>
        </p15:guide>
        <p15:guide id="16" pos="4740" userDrawn="1">
          <p15:clr>
            <a:srgbClr val="F26B43"/>
          </p15:clr>
        </p15:guide>
        <p15:guide id="17" pos="5715" userDrawn="1">
          <p15:clr>
            <a:srgbClr val="F26B43"/>
          </p15:clr>
        </p15:guide>
        <p15:guide id="18" pos="5851" userDrawn="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E8AC73-553B-4FF1-AC43-FAAEAF12EEED}"/>
              </a:ext>
            </a:extLst>
          </p:cNvPr>
          <p:cNvGraphicFramePr>
            <a:graphicFrameLocks noChangeAspect="1"/>
          </p:cNvGraphicFramePr>
          <p:nvPr userDrawn="1">
            <p:custDataLst>
              <p:tags r:id="rId20"/>
            </p:custDataLst>
          </p:nvPr>
        </p:nvGraphicFramePr>
        <p:xfrm>
          <a:off x="1500" y="1500"/>
          <a:ext cx="1501" cy="1501"/>
        </p:xfrm>
        <a:graphic>
          <a:graphicData uri="http://schemas.openxmlformats.org/presentationml/2006/ole">
            <mc:AlternateContent xmlns:mc="http://schemas.openxmlformats.org/markup-compatibility/2006">
              <mc:Choice xmlns:v="urn:schemas-microsoft-com:vml" Requires="v">
                <p:oleObj name="think-cell Slide" r:id="rId21" imgW="360" imgH="360" progId="TCLayout.ActiveDocument.1">
                  <p:embed/>
                </p:oleObj>
              </mc:Choice>
              <mc:Fallback>
                <p:oleObj name="think-cell Slide" r:id="rId21" imgW="360" imgH="360" progId="TCLayout.ActiveDocument.1">
                  <p:embed/>
                  <p:pic>
                    <p:nvPicPr>
                      <p:cNvPr id="6" name="Object 5" hidden="1">
                        <a:extLst>
                          <a:ext uri="{FF2B5EF4-FFF2-40B4-BE49-F238E27FC236}">
                            <a16:creationId xmlns:a16="http://schemas.microsoft.com/office/drawing/2014/main" id="{8DE8AC73-553B-4FF1-AC43-FAAEAF12EEED}"/>
                          </a:ext>
                        </a:extLst>
                      </p:cNvPr>
                      <p:cNvPicPr/>
                      <p:nvPr/>
                    </p:nvPicPr>
                    <p:blipFill>
                      <a:blip r:embed="rId22"/>
                      <a:stretch>
                        <a:fillRect/>
                      </a:stretch>
                    </p:blipFill>
                    <p:spPr>
                      <a:xfrm>
                        <a:off x="1500" y="1500"/>
                        <a:ext cx="1501" cy="1501"/>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53021" y="827086"/>
            <a:ext cx="8811372" cy="881461"/>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53019" y="1708547"/>
            <a:ext cx="10614451" cy="4117611"/>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53020" y="5826158"/>
            <a:ext cx="8811372" cy="330859"/>
          </a:xfrm>
          <a:prstGeom prst="rect">
            <a:avLst/>
          </a:prstGeom>
        </p:spPr>
        <p:txBody>
          <a:bodyPr vert="horz" lIns="0" tIns="0" rIns="0" bIns="0" rtlCol="0" anchor="b" anchorCtr="0">
            <a:noAutofit/>
          </a:bodyPr>
          <a:lstStyle>
            <a:lvl1pPr algn="l">
              <a:lnSpc>
                <a:spcPct val="90000"/>
              </a:lnSpc>
              <a:defRPr sz="756" b="0" cap="none" spc="0" baseline="0">
                <a:solidFill>
                  <a:schemeClr val="bg1"/>
                </a:solidFill>
              </a:defRPr>
            </a:lvl1pPr>
          </a:lstStyle>
          <a:p>
            <a:endParaRPr lang="de-DE"/>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0103105" y="476233"/>
            <a:ext cx="961929" cy="238117"/>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0813290" y="6020950"/>
            <a:ext cx="254179" cy="136067"/>
          </a:xfrm>
          <a:prstGeom prst="rect">
            <a:avLst/>
          </a:prstGeom>
        </p:spPr>
        <p:txBody>
          <a:bodyPr vert="horz" lIns="0" tIns="0" rIns="0" bIns="0" rtlCol="0" anchor="ctr"/>
          <a:lstStyle>
            <a:lvl1pPr algn="r">
              <a:lnSpc>
                <a:spcPts val="945"/>
              </a:lnSpc>
              <a:defRPr lang="de-DE" sz="756" b="1" kern="1200" smtClean="0">
                <a:solidFill>
                  <a:schemeClr val="bg1"/>
                </a:solidFill>
                <a:latin typeface="+mn-lt"/>
                <a:ea typeface="+mn-ea"/>
                <a:cs typeface="+mn-cs"/>
              </a:defRPr>
            </a:lvl1pPr>
          </a:lstStyle>
          <a:p>
            <a:fld id="{56C449F3-BD9D-48DC-BFF1-0F66671DA7C6}" type="slidenum">
              <a:rPr lang="de-DE" smtClean="0"/>
              <a:pPr/>
              <a:t>‹Nr.›</a:t>
            </a:fld>
            <a:endParaRPr lang="de-DE"/>
          </a:p>
        </p:txBody>
      </p:sp>
      <p:sp>
        <p:nvSpPr>
          <p:cNvPr id="4"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de-DE"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2604821656"/>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hf hdr="0" ftr="0" dt="0"/>
  <p:txStyles>
    <p:titleStyle>
      <a:lvl1pPr algn="l" defTabSz="914389" rtl="0" eaLnBrk="1" latinLnBrk="0" hangingPunct="1">
        <a:lnSpc>
          <a:spcPts val="3591"/>
        </a:lnSpc>
        <a:spcBef>
          <a:spcPct val="0"/>
        </a:spcBef>
        <a:buNone/>
        <a:defRPr sz="3591"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389" rtl="0" eaLnBrk="1" latinLnBrk="0" hangingPunct="1">
        <a:lnSpc>
          <a:spcPct val="100000"/>
        </a:lnSpc>
        <a:spcBef>
          <a:spcPts val="0"/>
        </a:spcBef>
        <a:buFont typeface="+mj-lt"/>
        <a:buNone/>
        <a:defRPr sz="1890" kern="1200">
          <a:solidFill>
            <a:schemeClr val="bg1"/>
          </a:solidFill>
          <a:latin typeface="+mn-lt"/>
          <a:ea typeface="+mn-ea"/>
          <a:cs typeface="+mn-cs"/>
        </a:defRPr>
      </a:lvl1pPr>
      <a:lvl2pPr marL="272131" indent="-272131" algn="l" defTabSz="914389"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2pPr>
      <a:lvl3pPr marL="272131" indent="-272131" algn="l" defTabSz="914389" rtl="0" eaLnBrk="1" latinLnBrk="0" hangingPunct="1">
        <a:lnSpc>
          <a:spcPct val="100000"/>
        </a:lnSpc>
        <a:spcBef>
          <a:spcPts val="0"/>
        </a:spcBef>
        <a:buFont typeface="Arial" panose="020B0604020202020204" pitchFamily="34" charset="0"/>
        <a:buChar char="•"/>
        <a:defRPr sz="1890" kern="1200">
          <a:solidFill>
            <a:schemeClr val="bg1"/>
          </a:solidFill>
          <a:latin typeface="+mn-lt"/>
          <a:ea typeface="+mn-ea"/>
          <a:cs typeface="+mn-cs"/>
        </a:defRPr>
      </a:lvl3pPr>
      <a:lvl4pPr marL="272131"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4pPr>
      <a:lvl5pPr marL="544262"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5pPr>
      <a:lvl6pPr marL="0" indent="0" algn="l" defTabSz="914389" rtl="0" eaLnBrk="1" latinLnBrk="0" hangingPunct="1">
        <a:lnSpc>
          <a:spcPct val="100000"/>
        </a:lnSpc>
        <a:spcBef>
          <a:spcPts val="2268"/>
        </a:spcBef>
        <a:buFont typeface="Arial" panose="020B0604020202020204" pitchFamily="34" charset="0"/>
        <a:buNone/>
        <a:defRPr sz="756" kern="1200">
          <a:solidFill>
            <a:schemeClr val="bg1"/>
          </a:solidFill>
          <a:latin typeface="+mn-lt"/>
          <a:ea typeface="+mn-ea"/>
          <a:cs typeface="+mn-cs"/>
        </a:defRPr>
      </a:lvl6pPr>
      <a:lvl7pPr marL="0" indent="0" algn="l" defTabSz="914389" rtl="0" eaLnBrk="1" latinLnBrk="0" hangingPunct="1">
        <a:lnSpc>
          <a:spcPct val="100000"/>
        </a:lnSpc>
        <a:spcBef>
          <a:spcPts val="567"/>
        </a:spcBef>
        <a:buFont typeface="Arial" panose="020B0604020202020204" pitchFamily="34" charset="0"/>
        <a:buNone/>
        <a:defRPr sz="1701" kern="1200">
          <a:solidFill>
            <a:srgbClr val="FF0000"/>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89" rtl="0" eaLnBrk="1" latinLnBrk="0" hangingPunct="1">
        <a:defRPr sz="1800" kern="1200">
          <a:solidFill>
            <a:schemeClr val="tx1"/>
          </a:solidFill>
          <a:latin typeface="+mn-lt"/>
          <a:ea typeface="+mn-ea"/>
          <a:cs typeface="+mn-cs"/>
        </a:defRPr>
      </a:lvl1pPr>
      <a:lvl2pPr marL="457195" algn="l" defTabSz="914389" rtl="0" eaLnBrk="1" latinLnBrk="0" hangingPunct="1">
        <a:defRPr sz="1800" kern="1200">
          <a:solidFill>
            <a:schemeClr val="tx1"/>
          </a:solidFill>
          <a:latin typeface="+mn-lt"/>
          <a:ea typeface="+mn-ea"/>
          <a:cs typeface="+mn-cs"/>
        </a:defRPr>
      </a:lvl2pPr>
      <a:lvl3pPr marL="914389" algn="l" defTabSz="914389" rtl="0" eaLnBrk="1" latinLnBrk="0" hangingPunct="1">
        <a:defRPr sz="1800" kern="1200">
          <a:solidFill>
            <a:schemeClr val="tx1"/>
          </a:solidFill>
          <a:latin typeface="+mn-lt"/>
          <a:ea typeface="+mn-ea"/>
          <a:cs typeface="+mn-cs"/>
        </a:defRPr>
      </a:lvl3pPr>
      <a:lvl4pPr marL="1371583" algn="l" defTabSz="914389" rtl="0" eaLnBrk="1" latinLnBrk="0" hangingPunct="1">
        <a:defRPr sz="1800" kern="1200">
          <a:solidFill>
            <a:schemeClr val="tx1"/>
          </a:solidFill>
          <a:latin typeface="+mn-lt"/>
          <a:ea typeface="+mn-ea"/>
          <a:cs typeface="+mn-cs"/>
        </a:defRPr>
      </a:lvl4pPr>
      <a:lvl5pPr marL="1828777" algn="l" defTabSz="914389" rtl="0" eaLnBrk="1" latinLnBrk="0" hangingPunct="1">
        <a:defRPr sz="1800" kern="1200">
          <a:solidFill>
            <a:schemeClr val="tx1"/>
          </a:solidFill>
          <a:latin typeface="+mn-lt"/>
          <a:ea typeface="+mn-ea"/>
          <a:cs typeface="+mn-cs"/>
        </a:defRPr>
      </a:lvl5pPr>
      <a:lvl6pPr marL="2285972" algn="l" defTabSz="914389" rtl="0" eaLnBrk="1" latinLnBrk="0" hangingPunct="1">
        <a:defRPr sz="1800" kern="1200">
          <a:solidFill>
            <a:schemeClr val="tx1"/>
          </a:solidFill>
          <a:latin typeface="+mn-lt"/>
          <a:ea typeface="+mn-ea"/>
          <a:cs typeface="+mn-cs"/>
        </a:defRPr>
      </a:lvl6pPr>
      <a:lvl7pPr marL="2743167" algn="l" defTabSz="914389" rtl="0" eaLnBrk="1" latinLnBrk="0" hangingPunct="1">
        <a:defRPr sz="1800" kern="1200">
          <a:solidFill>
            <a:schemeClr val="tx1"/>
          </a:solidFill>
          <a:latin typeface="+mn-lt"/>
          <a:ea typeface="+mn-ea"/>
          <a:cs typeface="+mn-cs"/>
        </a:defRPr>
      </a:lvl7pPr>
      <a:lvl8pPr marL="3200360" algn="l" defTabSz="914389" rtl="0" eaLnBrk="1" latinLnBrk="0" hangingPunct="1">
        <a:defRPr sz="1800" kern="1200">
          <a:solidFill>
            <a:schemeClr val="tx1"/>
          </a:solidFill>
          <a:latin typeface="+mn-lt"/>
          <a:ea typeface="+mn-ea"/>
          <a:cs typeface="+mn-cs"/>
        </a:defRPr>
      </a:lvl8pPr>
      <a:lvl9pPr marL="3657555" algn="l" defTabSz="9143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a:ln>
                  <a:noFill/>
                </a:ln>
                <a:solidFill>
                  <a:srgbClr val="003781"/>
                </a:solidFill>
                <a:effectLst/>
                <a:uLnTx/>
                <a:uFillTx/>
                <a:latin typeface="Allianz Neo PPT"/>
                <a:ea typeface="+mn-ea"/>
                <a:cs typeface="+mn-cs"/>
              </a:rPr>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a:ln>
                  <a:noFill/>
                </a:ln>
                <a:solidFill>
                  <a:srgbClr val="003781"/>
                </a:solidFill>
                <a:effectLst/>
                <a:uLnTx/>
                <a:uFillTx/>
                <a:latin typeface="Allianz Neo PPT"/>
                <a:ea typeface="+mn-ea"/>
                <a:cs typeface="+mn-cs"/>
              </a:rPr>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Nr.›</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100" normalizeH="0" baseline="0" noProof="0">
                <a:ln>
                  <a:noFill/>
                </a:ln>
                <a:solidFill>
                  <a:srgbClr val="000000"/>
                </a:solidFill>
                <a:effectLst/>
                <a:uLnTx/>
                <a:uFillTx/>
                <a:latin typeface="Calibri" panose="020F0502020204030204" pitchFamily="34" charset="0"/>
                <a:ea typeface="+mn-ea"/>
                <a:cs typeface="+mn-cs"/>
              </a:rPr>
              <a:t>Internal</a:t>
            </a:r>
          </a:p>
        </p:txBody>
      </p:sp>
    </p:spTree>
    <p:extLst>
      <p:ext uri="{BB962C8B-B14F-4D97-AF65-F5344CB8AC3E}">
        <p14:creationId xmlns:p14="http://schemas.microsoft.com/office/powerpoint/2010/main" val="2210941425"/>
      </p:ext>
    </p:extLst>
  </p:cSld>
  <p:clrMap bg1="dk1" tx1="lt1" bg2="dk2" tx2="lt2" accent1="accent1" accent2="accent2" accent3="accent3" accent4="accent4" accent5="accent5" accent6="accent6" hlink="hlink" folHlink="folHlink"/>
  <p:sldLayoutIdLst>
    <p:sldLayoutId id="2147483713" r:id="rId1"/>
    <p:sldLayoutId id="2147483714" r:id="rId2"/>
    <p:sldLayoutId id="2147483715" r:id="rId3"/>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p15:clr>
            <a:srgbClr val="F26B43"/>
          </p15:clr>
        </p15:guide>
        <p15:guide id="2" pos="6826">
          <p15:clr>
            <a:srgbClr val="F26B43"/>
          </p15:clr>
        </p15:guide>
        <p15:guide id="3" orient="horz" pos="295">
          <p15:clr>
            <a:srgbClr val="F26B43"/>
          </p15:clr>
        </p15:guide>
        <p15:guide id="6" orient="horz" pos="3561">
          <p15:clr>
            <a:srgbClr val="F26B43"/>
          </p15:clr>
        </p15:guide>
        <p15:guide id="9" pos="1270">
          <p15:clr>
            <a:srgbClr val="F26B43"/>
          </p15:clr>
        </p15:guide>
        <p15:guide id="10" pos="1406">
          <p15:clr>
            <a:srgbClr val="F26B43"/>
          </p15:clr>
        </p15:guide>
        <p15:guide id="11" pos="2381">
          <p15:clr>
            <a:srgbClr val="F26B43"/>
          </p15:clr>
        </p15:guide>
        <p15:guide id="12" pos="2517">
          <p15:clr>
            <a:srgbClr val="F26B43"/>
          </p15:clr>
        </p15:guide>
        <p15:guide id="13" pos="3492">
          <p15:clr>
            <a:srgbClr val="F26B43"/>
          </p15:clr>
        </p15:guide>
        <p15:guide id="14" pos="3629">
          <p15:clr>
            <a:srgbClr val="F26B43"/>
          </p15:clr>
        </p15:guide>
        <p15:guide id="15" pos="4604">
          <p15:clr>
            <a:srgbClr val="F26B43"/>
          </p15:clr>
        </p15:guide>
        <p15:guide id="16" pos="4740">
          <p15:clr>
            <a:srgbClr val="F26B43"/>
          </p15:clr>
        </p15:guide>
        <p15:guide id="17" pos="5715">
          <p15:clr>
            <a:srgbClr val="F26B43"/>
          </p15:clr>
        </p15:guide>
        <p15:guide id="18" pos="585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a:ln>
                  <a:noFill/>
                </a:ln>
                <a:solidFill>
                  <a:srgbClr val="003781"/>
                </a:solidFill>
                <a:effectLst/>
                <a:uLnTx/>
                <a:uFillTx/>
                <a:latin typeface="Allianz Neo PPT"/>
                <a:ea typeface="+mn-ea"/>
                <a:cs typeface="+mn-cs"/>
              </a:rPr>
              <a:t>© Allianz 2022</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a:ln>
                  <a:noFill/>
                </a:ln>
                <a:solidFill>
                  <a:srgbClr val="003781"/>
                </a:solidFill>
                <a:effectLst/>
                <a:uLnTx/>
                <a:uFillTx/>
                <a:latin typeface="Allianz Neo PPT"/>
                <a:ea typeface="+mn-ea"/>
                <a:cs typeface="+mn-cs"/>
              </a:rPr>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Nr.›</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100" normalizeH="0" baseline="0" noProof="0">
                <a:ln>
                  <a:noFill/>
                </a:ln>
                <a:solidFill>
                  <a:srgbClr val="000000"/>
                </a:solidFill>
                <a:effectLst/>
                <a:uLnTx/>
                <a:uFillTx/>
                <a:latin typeface="Calibri" panose="020F0502020204030204" pitchFamily="34" charset="0"/>
                <a:ea typeface="+mn-ea"/>
                <a:cs typeface="+mn-cs"/>
              </a:rPr>
              <a:t>Internal</a:t>
            </a:r>
          </a:p>
        </p:txBody>
      </p:sp>
    </p:spTree>
    <p:extLst>
      <p:ext uri="{BB962C8B-B14F-4D97-AF65-F5344CB8AC3E}">
        <p14:creationId xmlns:p14="http://schemas.microsoft.com/office/powerpoint/2010/main" val="713289293"/>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p15:clr>
            <a:srgbClr val="F26B43"/>
          </p15:clr>
        </p15:guide>
        <p15:guide id="2" pos="6826">
          <p15:clr>
            <a:srgbClr val="F26B43"/>
          </p15:clr>
        </p15:guide>
        <p15:guide id="3" orient="horz" pos="295">
          <p15:clr>
            <a:srgbClr val="F26B43"/>
          </p15:clr>
        </p15:guide>
        <p15:guide id="6" orient="horz" pos="3561">
          <p15:clr>
            <a:srgbClr val="F26B43"/>
          </p15:clr>
        </p15:guide>
        <p15:guide id="9" pos="1270">
          <p15:clr>
            <a:srgbClr val="F26B43"/>
          </p15:clr>
        </p15:guide>
        <p15:guide id="10" pos="1406">
          <p15:clr>
            <a:srgbClr val="F26B43"/>
          </p15:clr>
        </p15:guide>
        <p15:guide id="11" pos="2381">
          <p15:clr>
            <a:srgbClr val="F26B43"/>
          </p15:clr>
        </p15:guide>
        <p15:guide id="12" pos="2517">
          <p15:clr>
            <a:srgbClr val="F26B43"/>
          </p15:clr>
        </p15:guide>
        <p15:guide id="13" pos="3492">
          <p15:clr>
            <a:srgbClr val="F26B43"/>
          </p15:clr>
        </p15:guide>
        <p15:guide id="14" pos="3629">
          <p15:clr>
            <a:srgbClr val="F26B43"/>
          </p15:clr>
        </p15:guide>
        <p15:guide id="15" pos="4604">
          <p15:clr>
            <a:srgbClr val="F26B43"/>
          </p15:clr>
        </p15:guide>
        <p15:guide id="16" pos="4740">
          <p15:clr>
            <a:srgbClr val="F26B43"/>
          </p15:clr>
        </p15:guide>
        <p15:guide id="17" pos="5715">
          <p15:clr>
            <a:srgbClr val="F26B43"/>
          </p15:clr>
        </p15:guide>
        <p15:guide id="18" pos="585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5"/>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5" y="2268539"/>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9" y="3726658"/>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4" y="468001"/>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fld id="{0F96B16C-3F5F-44BC-AFCC-8CBCBD90898D}" type="slidenum">
              <a:rPr lang="de-DE" smtClean="0"/>
              <a:pPr/>
              <a:t>‹Nr.›</a:t>
            </a:fld>
            <a:endParaRPr lang="de-DE"/>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b="1" spc="1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2772890861"/>
      </p:ext>
    </p:extLst>
  </p:cSld>
  <p:clrMap bg1="dk1" tx1="lt1" bg2="dk2" tx2="lt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Lst>
  <p:hf hdr="0"/>
  <p:txStyles>
    <p:titleStyle>
      <a:lvl1pPr algn="l" defTabSz="914389"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389"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389"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5998" indent="-215998" algn="l" defTabSz="914389"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5998" indent="-215998" algn="l" defTabSz="914389"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5998" indent="-215998" algn="l" defTabSz="914389"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59996" indent="0" algn="l" defTabSz="914389"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763"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89" rtl="0" eaLnBrk="1" latinLnBrk="0" hangingPunct="1">
        <a:defRPr sz="1800" kern="1200">
          <a:solidFill>
            <a:schemeClr val="tx1"/>
          </a:solidFill>
          <a:latin typeface="+mn-lt"/>
          <a:ea typeface="+mn-ea"/>
          <a:cs typeface="+mn-cs"/>
        </a:defRPr>
      </a:lvl1pPr>
      <a:lvl2pPr marL="457195" algn="l" defTabSz="914389" rtl="0" eaLnBrk="1" latinLnBrk="0" hangingPunct="1">
        <a:defRPr sz="1800" kern="1200">
          <a:solidFill>
            <a:schemeClr val="tx1"/>
          </a:solidFill>
          <a:latin typeface="+mn-lt"/>
          <a:ea typeface="+mn-ea"/>
          <a:cs typeface="+mn-cs"/>
        </a:defRPr>
      </a:lvl2pPr>
      <a:lvl3pPr marL="914389" algn="l" defTabSz="914389" rtl="0" eaLnBrk="1" latinLnBrk="0" hangingPunct="1">
        <a:defRPr sz="1800" kern="1200">
          <a:solidFill>
            <a:schemeClr val="tx1"/>
          </a:solidFill>
          <a:latin typeface="+mn-lt"/>
          <a:ea typeface="+mn-ea"/>
          <a:cs typeface="+mn-cs"/>
        </a:defRPr>
      </a:lvl3pPr>
      <a:lvl4pPr marL="1371583" algn="l" defTabSz="914389" rtl="0" eaLnBrk="1" latinLnBrk="0" hangingPunct="1">
        <a:defRPr sz="1800" kern="1200">
          <a:solidFill>
            <a:schemeClr val="tx1"/>
          </a:solidFill>
          <a:latin typeface="+mn-lt"/>
          <a:ea typeface="+mn-ea"/>
          <a:cs typeface="+mn-cs"/>
        </a:defRPr>
      </a:lvl4pPr>
      <a:lvl5pPr marL="1828777" algn="l" defTabSz="914389" rtl="0" eaLnBrk="1" latinLnBrk="0" hangingPunct="1">
        <a:defRPr sz="1800" kern="1200">
          <a:solidFill>
            <a:schemeClr val="tx1"/>
          </a:solidFill>
          <a:latin typeface="+mn-lt"/>
          <a:ea typeface="+mn-ea"/>
          <a:cs typeface="+mn-cs"/>
        </a:defRPr>
      </a:lvl5pPr>
      <a:lvl6pPr marL="2285972" algn="l" defTabSz="914389" rtl="0" eaLnBrk="1" latinLnBrk="0" hangingPunct="1">
        <a:defRPr sz="1800" kern="1200">
          <a:solidFill>
            <a:schemeClr val="tx1"/>
          </a:solidFill>
          <a:latin typeface="+mn-lt"/>
          <a:ea typeface="+mn-ea"/>
          <a:cs typeface="+mn-cs"/>
        </a:defRPr>
      </a:lvl6pPr>
      <a:lvl7pPr marL="2743167" algn="l" defTabSz="914389" rtl="0" eaLnBrk="1" latinLnBrk="0" hangingPunct="1">
        <a:defRPr sz="1800" kern="1200">
          <a:solidFill>
            <a:schemeClr val="tx1"/>
          </a:solidFill>
          <a:latin typeface="+mn-lt"/>
          <a:ea typeface="+mn-ea"/>
          <a:cs typeface="+mn-cs"/>
        </a:defRPr>
      </a:lvl7pPr>
      <a:lvl8pPr marL="3200360" algn="l" defTabSz="914389" rtl="0" eaLnBrk="1" latinLnBrk="0" hangingPunct="1">
        <a:defRPr sz="1800" kern="1200">
          <a:solidFill>
            <a:schemeClr val="tx1"/>
          </a:solidFill>
          <a:latin typeface="+mn-lt"/>
          <a:ea typeface="+mn-ea"/>
          <a:cs typeface="+mn-cs"/>
        </a:defRPr>
      </a:lvl8pPr>
      <a:lvl9pPr marL="3657555" algn="l" defTabSz="9143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p15:clr>
            <a:srgbClr val="F26B43"/>
          </p15:clr>
        </p15:guide>
        <p15:guide id="2" pos="6826">
          <p15:clr>
            <a:srgbClr val="F26B43"/>
          </p15:clr>
        </p15:guide>
        <p15:guide id="3" orient="horz" pos="295">
          <p15:clr>
            <a:srgbClr val="F26B43"/>
          </p15:clr>
        </p15:guide>
        <p15:guide id="6" orient="horz" pos="3561">
          <p15:clr>
            <a:srgbClr val="F26B43"/>
          </p15:clr>
        </p15:guide>
        <p15:guide id="9" pos="1270">
          <p15:clr>
            <a:srgbClr val="F26B43"/>
          </p15:clr>
        </p15:guide>
        <p15:guide id="10" pos="1406">
          <p15:clr>
            <a:srgbClr val="F26B43"/>
          </p15:clr>
        </p15:guide>
        <p15:guide id="11" pos="2381">
          <p15:clr>
            <a:srgbClr val="F26B43"/>
          </p15:clr>
        </p15:guide>
        <p15:guide id="12" pos="2517">
          <p15:clr>
            <a:srgbClr val="F26B43"/>
          </p15:clr>
        </p15:guide>
        <p15:guide id="13" pos="3492">
          <p15:clr>
            <a:srgbClr val="F26B43"/>
          </p15:clr>
        </p15:guide>
        <p15:guide id="14" pos="3629">
          <p15:clr>
            <a:srgbClr val="F26B43"/>
          </p15:clr>
        </p15:guide>
        <p15:guide id="15" pos="4604">
          <p15:clr>
            <a:srgbClr val="F26B43"/>
          </p15:clr>
        </p15:guide>
        <p15:guide id="16" pos="4740">
          <p15:clr>
            <a:srgbClr val="F26B43"/>
          </p15:clr>
        </p15:guide>
        <p15:guide id="17" pos="5715">
          <p15:clr>
            <a:srgbClr val="F26B43"/>
          </p15:clr>
        </p15:guide>
        <p15:guide id="18" pos="585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hyperlink" Target="https://makler.allianz.de/leben/marketing-medien/verkaufsfoerderung/aca.html" TargetMode="External"/><Relationship Id="rId3" Type="http://schemas.openxmlformats.org/officeDocument/2006/relationships/hyperlink" Target="https://ind.allianz.de.awin/protected/adag_portal/index.htmlhttps:/ejournal-vertriebsschwerpunktav.de/index/sendcontent/id/10483?t=01AOVTVSP" TargetMode="External"/><Relationship Id="rId7" Type="http://schemas.openxmlformats.org/officeDocument/2006/relationships/hyperlink" Target="https://amisonline.allianz.de/protected/vorsorge/privat/produkte/altersvorsorge_privat/index.html"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hyperlink" Target="https://makler.allianz.de/leben/marketing-medien/verkaufsfoerderung/Aktionen_und_Bestandsinformationen/22783_Briefaktion_Foerd_u_Zuzahlung_EB_2024.html" TargetMode="External"/><Relationship Id="rId5" Type="http://schemas.openxmlformats.org/officeDocument/2006/relationships/hyperlink" Target="https://makler.allianz.de/leben/marketing-medien/verkaufsfoerderung/Aktionen_und_Bestandsinformationen/21542_FundZ_EB.html" TargetMode="External"/><Relationship Id="rId4" Type="http://schemas.openxmlformats.org/officeDocument/2006/relationships/hyperlink" Target="https://makler.allianz.de/leben/privat/produkte/vermoegen.html" TargetMode="External"/></Relationships>
</file>

<file path=ppt/slides/_rels/slide14.xml.rels><?xml version="1.0" encoding="UTF-8" standalone="yes"?>
<Relationships xmlns="http://schemas.openxmlformats.org/package/2006/relationships"><Relationship Id="rId2" Type="http://schemas.openxmlformats.org/officeDocument/2006/relationships/hyperlink" Target="mailto:werbewiderspruch@allianz.de"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3" Type="http://schemas.openxmlformats.org/officeDocument/2006/relationships/image" Target="../media/image22.png"/><Relationship Id="rId7" Type="http://schemas.openxmlformats.org/officeDocument/2006/relationships/image" Target="../media/image26.svg"/><Relationship Id="rId12" Type="http://schemas.openxmlformats.org/officeDocument/2006/relationships/image" Target="../media/image31.png"/><Relationship Id="rId17" Type="http://schemas.openxmlformats.org/officeDocument/2006/relationships/image" Target="../media/image36.svg"/><Relationship Id="rId2" Type="http://schemas.openxmlformats.org/officeDocument/2006/relationships/notesSlide" Target="../notesSlides/notesSlide4.xml"/><Relationship Id="rId16"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24.svg"/><Relationship Id="rId15" Type="http://schemas.openxmlformats.org/officeDocument/2006/relationships/image" Target="../media/image34.sv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svg"/><Relationship Id="rId1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429415" y="1799999"/>
            <a:ext cx="5594260" cy="2268000"/>
          </a:xfrm>
        </p:spPr>
        <p:txBody>
          <a:bodyPr/>
          <a:lstStyle/>
          <a:p>
            <a:r>
              <a:rPr lang="de-DE" sz="3600" dirty="0"/>
              <a:t>Briefaktion:</a:t>
            </a:r>
            <a:br>
              <a:rPr lang="de-DE" sz="3600" dirty="0"/>
            </a:br>
            <a:r>
              <a:rPr lang="de-DE" sz="3600" dirty="0"/>
              <a:t>Förderung und Zuzahlung Einmalbeitragsgeschäft 2024</a:t>
            </a:r>
          </a:p>
        </p:txBody>
      </p:sp>
      <p:sp>
        <p:nvSpPr>
          <p:cNvPr id="9" name="Untertitel 8">
            <a:extLst>
              <a:ext uri="{FF2B5EF4-FFF2-40B4-BE49-F238E27FC236}">
                <a16:creationId xmlns:a16="http://schemas.microsoft.com/office/drawing/2014/main" id="{D57B8FD9-B4C3-47DC-BF32-3A803969BCBF}"/>
              </a:ext>
            </a:extLst>
          </p:cNvPr>
          <p:cNvSpPr>
            <a:spLocks noGrp="1"/>
          </p:cNvSpPr>
          <p:nvPr>
            <p:ph type="subTitle" idx="1"/>
          </p:nvPr>
        </p:nvSpPr>
        <p:spPr/>
        <p:txBody>
          <a:bodyPr/>
          <a:lstStyle/>
          <a:p>
            <a:r>
              <a:rPr lang="de-DE" dirty="0"/>
              <a:t>Aktionsnummer 22783</a:t>
            </a:r>
          </a:p>
          <a:p>
            <a:endParaRPr lang="de-DE" dirty="0"/>
          </a:p>
        </p:txBody>
      </p:sp>
      <p:sp>
        <p:nvSpPr>
          <p:cNvPr id="11" name="Textplatzhalter 10">
            <a:extLst>
              <a:ext uri="{FF2B5EF4-FFF2-40B4-BE49-F238E27FC236}">
                <a16:creationId xmlns:a16="http://schemas.microsoft.com/office/drawing/2014/main" id="{0640EE29-55AD-44B8-8A13-3651BA1F87F0}"/>
              </a:ext>
            </a:extLst>
          </p:cNvPr>
          <p:cNvSpPr>
            <a:spLocks noGrp="1"/>
          </p:cNvSpPr>
          <p:nvPr>
            <p:ph type="body" sz="quarter" idx="11"/>
          </p:nvPr>
        </p:nvSpPr>
        <p:spPr/>
        <p:txBody>
          <a:bodyPr/>
          <a:lstStyle/>
          <a:p>
            <a:r>
              <a:rPr lang="de-DE" b="1"/>
              <a:t>Vertriebsinformation</a:t>
            </a:r>
          </a:p>
          <a:p>
            <a:r>
              <a:rPr lang="de-DE"/>
              <a:t>M-MKK-MK-VAB</a:t>
            </a:r>
          </a:p>
        </p:txBody>
      </p:sp>
      <p:sp>
        <p:nvSpPr>
          <p:cNvPr id="12" name="Textplatzhalter 11">
            <a:extLst>
              <a:ext uri="{FF2B5EF4-FFF2-40B4-BE49-F238E27FC236}">
                <a16:creationId xmlns:a16="http://schemas.microsoft.com/office/drawing/2014/main" id="{D7288FB4-8D6E-4564-A0F7-0020F4D3B75D}"/>
              </a:ext>
            </a:extLst>
          </p:cNvPr>
          <p:cNvSpPr>
            <a:spLocks noGrp="1"/>
          </p:cNvSpPr>
          <p:nvPr>
            <p:ph type="body" sz="quarter" idx="12"/>
          </p:nvPr>
        </p:nvSpPr>
        <p:spPr/>
        <p:txBody>
          <a:bodyPr/>
          <a:lstStyle/>
          <a:p>
            <a:r>
              <a:rPr lang="de-DE"/>
              <a:t>München, 13.05.2024</a:t>
            </a:r>
          </a:p>
        </p:txBody>
      </p:sp>
      <p:pic>
        <p:nvPicPr>
          <p:cNvPr id="10" name="Bildplatzhalter 9">
            <a:extLst>
              <a:ext uri="{FF2B5EF4-FFF2-40B4-BE49-F238E27FC236}">
                <a16:creationId xmlns:a16="http://schemas.microsoft.com/office/drawing/2014/main" id="{6E6A850F-4280-8046-1664-CCB10FE55972}"/>
              </a:ext>
            </a:extLst>
          </p:cNvPr>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41864124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C1098AD2-CF70-D03D-33B1-0BA1516B6F1F}"/>
              </a:ext>
            </a:extLst>
          </p:cNvPr>
          <p:cNvPicPr>
            <a:picLocks noChangeAspect="1"/>
          </p:cNvPicPr>
          <p:nvPr/>
        </p:nvPicPr>
        <p:blipFill>
          <a:blip r:embed="rId3"/>
          <a:stretch>
            <a:fillRect/>
          </a:stretch>
        </p:blipFill>
        <p:spPr>
          <a:xfrm>
            <a:off x="323521" y="1968915"/>
            <a:ext cx="5353380" cy="2115859"/>
          </a:xfrm>
          <a:prstGeom prst="rect">
            <a:avLst/>
          </a:prstGeom>
          <a:ln>
            <a:noFill/>
          </a:ln>
          <a:effectLst>
            <a:outerShdw blurRad="292100" dist="139700" dir="2700000" algn="tl" rotWithShape="0">
              <a:srgbClr val="333333">
                <a:alpha val="65000"/>
              </a:srgbClr>
            </a:outerShdw>
          </a:effectLst>
        </p:spPr>
      </p:pic>
      <p:sp>
        <p:nvSpPr>
          <p:cNvPr id="9" name="Foliennummernplatzhalter 8"/>
          <p:cNvSpPr>
            <a:spLocks noGrp="1"/>
          </p:cNvSpPr>
          <p:nvPr>
            <p:ph type="sldNum" sz="quarter" idx="4294967295"/>
          </p:nvPr>
        </p:nvSpPr>
        <p:spPr>
          <a:xfrm>
            <a:off x="11050180" y="5652179"/>
            <a:ext cx="468137" cy="826776"/>
          </a:xfrm>
        </p:spPr>
        <p:txBody>
          <a:bodyPr/>
          <a:lstStyle/>
          <a:p>
            <a:pPr marL="0" marR="0" lvl="0" indent="0" algn="l" defTabSz="863742"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a:ln>
                  <a:noFill/>
                </a:ln>
                <a:solidFill>
                  <a:srgbClr val="003781"/>
                </a:solidFill>
                <a:effectLst/>
                <a:uLnTx/>
                <a:uFillTx/>
                <a:latin typeface="Allianz Neo PPT"/>
                <a:ea typeface="+mn-ea"/>
                <a:cs typeface="+mn-cs"/>
              </a:rPr>
              <a:pPr marL="0" marR="0" lvl="0" indent="0" algn="l" defTabSz="863742" rtl="0" eaLnBrk="1" fontAlgn="auto" latinLnBrk="0" hangingPunct="1">
                <a:lnSpc>
                  <a:spcPct val="100000"/>
                </a:lnSpc>
                <a:spcBef>
                  <a:spcPts val="0"/>
                </a:spcBef>
                <a:spcAft>
                  <a:spcPts val="0"/>
                </a:spcAft>
                <a:buClrTx/>
                <a:buSzTx/>
                <a:buFontTx/>
                <a:buNone/>
                <a:tabLst/>
                <a:defRPr/>
              </a:pPr>
              <a:t>10</a:t>
            </a:fld>
            <a:endParaRPr kumimoji="0" lang="en-GB"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36" name="Datumsplatzhalter 5">
            <a:extLst>
              <a:ext uri="{FF2B5EF4-FFF2-40B4-BE49-F238E27FC236}">
                <a16:creationId xmlns:a16="http://schemas.microsoft.com/office/drawing/2014/main" id="{196DF232-D1B7-44C1-94F0-3B425952DF1B}"/>
              </a:ext>
            </a:extLst>
          </p:cNvPr>
          <p:cNvSpPr txBox="1">
            <a:spLocks/>
          </p:cNvSpPr>
          <p:nvPr/>
        </p:nvSpPr>
        <p:spPr>
          <a:xfrm rot="-5400000">
            <a:off x="9592613" y="3726474"/>
            <a:ext cx="3383274" cy="468136"/>
          </a:xfrm>
          <a:prstGeom prst="rect">
            <a:avLst/>
          </a:prstGeom>
        </p:spPr>
        <p:txBody>
          <a:bodyPr vert="horz" lIns="0" tIns="35986"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marL="0" marR="0" lvl="0" indent="0" algn="l" defTabSz="863742"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4</a:t>
            </a:r>
          </a:p>
        </p:txBody>
      </p:sp>
      <p:sp>
        <p:nvSpPr>
          <p:cNvPr id="37"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7" y="469045"/>
            <a:ext cx="10259211" cy="251905"/>
          </a:xfrm>
        </p:spPr>
        <p:txBody>
          <a:bodyPr/>
          <a:lstStyle/>
          <a:p>
            <a:pPr defTabSz="864006">
              <a:defRPr/>
            </a:pPr>
            <a:r>
              <a:rPr lang="de-DE" dirty="0">
                <a:solidFill>
                  <a:srgbClr val="003781"/>
                </a:solidFill>
                <a:latin typeface="+mj-lt"/>
                <a:cs typeface="Arial" panose="020B0604020202020204" pitchFamily="34" charset="0"/>
              </a:rPr>
              <a:t>Briefaktion: Förderung und Zuzahlung Einmalbeitragsgeschäft 2024 (</a:t>
            </a:r>
            <a:r>
              <a:rPr lang="de-DE" dirty="0"/>
              <a:t>22783</a:t>
            </a:r>
            <a:r>
              <a:rPr lang="de-DE" dirty="0">
                <a:solidFill>
                  <a:srgbClr val="003781"/>
                </a:solidFill>
                <a:latin typeface="+mj-lt"/>
                <a:cs typeface="Arial" panose="020B0604020202020204" pitchFamily="34" charset="0"/>
              </a:rPr>
              <a:t>)</a:t>
            </a:r>
          </a:p>
        </p:txBody>
      </p:sp>
      <p:sp>
        <p:nvSpPr>
          <p:cNvPr id="31" name="Title 1"/>
          <p:cNvSpPr txBox="1">
            <a:spLocks/>
          </p:cNvSpPr>
          <p:nvPr/>
        </p:nvSpPr>
        <p:spPr>
          <a:xfrm>
            <a:off x="468315" y="1152524"/>
            <a:ext cx="10367962" cy="900114"/>
          </a:xfrm>
          <a:prstGeom prst="rect">
            <a:avLst/>
          </a:prstGeom>
        </p:spPr>
        <p:txBody>
          <a:bodyPr vert="horz" lIns="0" tIns="0" rIns="0" bIns="0" rtlCol="0" anchor="t" anchorCtr="0">
            <a:noAutofit/>
          </a:bodyPr>
          <a:lstStyle>
            <a:lvl1pPr algn="l" defTabSz="914109" rtl="0" eaLnBrk="1" latinLnBrk="0" hangingPunct="1">
              <a:lnSpc>
                <a:spcPct val="80000"/>
              </a:lnSpc>
              <a:spcBef>
                <a:spcPct val="0"/>
              </a:spcBef>
              <a:buNone/>
              <a:defRPr sz="4699"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109" rtl="0" eaLnBrk="1" fontAlgn="auto" latinLnBrk="0" hangingPunct="1">
              <a:lnSpc>
                <a:spcPct val="80000"/>
              </a:lnSpc>
              <a:spcBef>
                <a:spcPct val="0"/>
              </a:spcBef>
              <a:spcAft>
                <a:spcPts val="0"/>
              </a:spcAft>
              <a:buClrTx/>
              <a:buSzTx/>
              <a:buFontTx/>
              <a:buNone/>
              <a:tabLst/>
              <a:defRPr/>
            </a:pPr>
            <a:r>
              <a:rPr kumimoji="0" lang="de-DE" sz="4798" b="0" i="0" u="none" strike="noStrike" kern="1200" cap="none" spc="0" normalizeH="0" baseline="0" noProof="0" dirty="0">
                <a:ln>
                  <a:noFill/>
                </a:ln>
                <a:solidFill>
                  <a:srgbClr val="003781"/>
                </a:solidFill>
                <a:effectLst/>
                <a:uLnTx/>
                <a:uFillTx/>
                <a:latin typeface="Allianz Neo PPT"/>
                <a:ea typeface="+mj-ea"/>
                <a:cs typeface="+mj-cs"/>
              </a:rPr>
              <a:t>ACA: </a:t>
            </a:r>
            <a:r>
              <a:rPr lang="de-DE" sz="4800" dirty="0">
                <a:solidFill>
                  <a:srgbClr val="13A0D3"/>
                </a:solidFill>
              </a:rPr>
              <a:t>Sortier- und Filterfelder</a:t>
            </a:r>
          </a:p>
        </p:txBody>
      </p:sp>
      <p:sp>
        <p:nvSpPr>
          <p:cNvPr id="17" name="Textfeld 39">
            <a:extLst>
              <a:ext uri="{FF2B5EF4-FFF2-40B4-BE49-F238E27FC236}">
                <a16:creationId xmlns:a16="http://schemas.microsoft.com/office/drawing/2014/main" id="{0318669C-758F-0EF1-5194-563FF2B9E5C9}"/>
              </a:ext>
            </a:extLst>
          </p:cNvPr>
          <p:cNvSpPr txBox="1">
            <a:spLocks noChangeArrowheads="1"/>
          </p:cNvSpPr>
          <p:nvPr/>
        </p:nvSpPr>
        <p:spPr bwMode="auto">
          <a:xfrm>
            <a:off x="5830349" y="1968915"/>
            <a:ext cx="4703922" cy="246221"/>
          </a:xfrm>
          <a:prstGeom prst="rect">
            <a:avLst/>
          </a:prstGeom>
          <a:solidFill>
            <a:schemeClr val="accent6">
              <a:lumMod val="90000"/>
            </a:schemeClr>
          </a:solidFill>
          <a:ln w="9525">
            <a:noFill/>
            <a:miter lim="800000"/>
            <a:headEnd/>
            <a:tailEnd/>
          </a:ln>
        </p:spPr>
        <p:txBody>
          <a:bodyPr wrap="square">
            <a:spAutoFit/>
          </a:bodyPr>
          <a:lstStyle>
            <a:defPPr>
              <a:defRPr lang="de-DE"/>
            </a:defPPr>
            <a:lvl1pPr>
              <a:defRPr sz="1000" b="1">
                <a:solidFill>
                  <a:schemeClr val="bg1"/>
                </a:solidFill>
                <a:latin typeface="Arial" charset="0"/>
              </a:defRPr>
            </a:lvl1pPr>
            <a:lvl2pPr marL="742950" indent="-285750" eaLnBrk="0" hangingPunct="0">
              <a:defRPr>
                <a:latin typeface="Arial" charset="0"/>
              </a:defRPr>
            </a:lvl2pPr>
            <a:lvl3pPr marL="1143000" indent="-228600" eaLnBrk="0" hangingPunct="0">
              <a:buChar char="§"/>
              <a:defRPr>
                <a:latin typeface="Arial" charset="0"/>
              </a:defRPr>
            </a:lvl3pPr>
            <a:lvl4pPr marL="1600200" indent="-228600" eaLnBrk="0" hangingPunct="0">
              <a:buChar char="-"/>
              <a:defRPr>
                <a:latin typeface="Arial" charset="0"/>
              </a:defRPr>
            </a:lvl4pPr>
            <a:lvl5pPr marL="2057400" indent="-228600" eaLnBrk="0" hangingPunct="0">
              <a:buChar char="-"/>
              <a:defRPr>
                <a:latin typeface="Arial" charset="0"/>
              </a:defRPr>
            </a:lvl5pPr>
            <a:lvl6pPr marL="2514600" indent="-228600" eaLnBrk="0" fontAlgn="base" hangingPunct="0">
              <a:spcBef>
                <a:spcPct val="0"/>
              </a:spcBef>
              <a:spcAft>
                <a:spcPct val="30000"/>
              </a:spcAft>
              <a:buClr>
                <a:schemeClr val="accent1"/>
              </a:buClr>
              <a:buChar char="-"/>
              <a:defRPr>
                <a:latin typeface="Arial" charset="0"/>
              </a:defRPr>
            </a:lvl6pPr>
            <a:lvl7pPr marL="2971800" indent="-228600" eaLnBrk="0" fontAlgn="base" hangingPunct="0">
              <a:spcBef>
                <a:spcPct val="0"/>
              </a:spcBef>
              <a:spcAft>
                <a:spcPct val="30000"/>
              </a:spcAft>
              <a:buClr>
                <a:schemeClr val="accent1"/>
              </a:buClr>
              <a:buChar char="-"/>
              <a:defRPr>
                <a:latin typeface="Arial" charset="0"/>
              </a:defRPr>
            </a:lvl7pPr>
            <a:lvl8pPr marL="3429000" indent="-228600" eaLnBrk="0" fontAlgn="base" hangingPunct="0">
              <a:spcBef>
                <a:spcPct val="0"/>
              </a:spcBef>
              <a:spcAft>
                <a:spcPct val="30000"/>
              </a:spcAft>
              <a:buClr>
                <a:schemeClr val="accent1"/>
              </a:buClr>
              <a:buChar char="-"/>
              <a:defRPr>
                <a:latin typeface="Arial" charset="0"/>
              </a:defRPr>
            </a:lvl8pPr>
            <a:lvl9pPr marL="3886200" indent="-228600" eaLnBrk="0" fontAlgn="base" hangingPunct="0">
              <a:spcBef>
                <a:spcPct val="0"/>
              </a:spcBef>
              <a:spcAft>
                <a:spcPct val="30000"/>
              </a:spcAft>
              <a:buClr>
                <a:schemeClr val="accent1"/>
              </a:buClr>
              <a:buChar char="-"/>
              <a:defRPr>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Erläuterungen: Sortierfelder</a:t>
            </a:r>
          </a:p>
        </p:txBody>
      </p:sp>
      <p:sp>
        <p:nvSpPr>
          <p:cNvPr id="25" name="Textfeld 24">
            <a:extLst>
              <a:ext uri="{FF2B5EF4-FFF2-40B4-BE49-F238E27FC236}">
                <a16:creationId xmlns:a16="http://schemas.microsoft.com/office/drawing/2014/main" id="{B279EED1-A8CC-AC5B-D4F4-B5366FE65E23}"/>
              </a:ext>
            </a:extLst>
          </p:cNvPr>
          <p:cNvSpPr txBox="1"/>
          <p:nvPr/>
        </p:nvSpPr>
        <p:spPr>
          <a:xfrm>
            <a:off x="6236484" y="2286679"/>
            <a:ext cx="4493034" cy="3971246"/>
          </a:xfrm>
          <a:prstGeom prst="rect">
            <a:avLst/>
          </a:prstGeom>
        </p:spPr>
        <p:txBody>
          <a:bodyPr vert="horz" lIns="0" tIns="0" rIns="0" bIns="0" rtlCol="0">
            <a:noAutofit/>
          </a:bodyPr>
          <a:lstStyle>
            <a:lvl1pPr indent="0">
              <a:lnSpc>
                <a:spcPts val="1920"/>
              </a:lnSpc>
              <a:spcBef>
                <a:spcPts val="200"/>
              </a:spcBef>
              <a:spcAft>
                <a:spcPts val="0"/>
              </a:spcAft>
              <a:buFont typeface="Arial" panose="020B0604020202020204" pitchFamily="34" charset="0"/>
              <a:buNone/>
              <a:defRPr lang="en-GB" sz="1600" b="0" cap="none" baseline="0" noProof="0" dirty="0" smtClean="0"/>
            </a:lvl1pPr>
            <a:lvl2pPr marL="179388" marR="0" indent="-179388" fontAlgn="auto">
              <a:lnSpc>
                <a:spcPct val="100000"/>
              </a:lnSpc>
              <a:spcBef>
                <a:spcPts val="200"/>
              </a:spcBef>
              <a:spcAft>
                <a:spcPts val="200"/>
              </a:spcAft>
              <a:buClrTx/>
              <a:buSzTx/>
              <a:buFont typeface="Arial" panose="020B0604020202020204" pitchFamily="34" charset="0"/>
              <a:buChar char="•"/>
              <a:tabLst/>
              <a:defRPr lang="de-DE" sz="1600" noProof="0" dirty="0" smtClean="0"/>
            </a:lvl2pPr>
            <a:lvl3pPr marL="354013" indent="-179388">
              <a:lnSpc>
                <a:spcPct val="100000"/>
              </a:lnSpc>
              <a:spcBef>
                <a:spcPts val="200"/>
              </a:spcBef>
              <a:spcAft>
                <a:spcPts val="200"/>
              </a:spcAft>
              <a:buFont typeface="Symbol" panose="05050102010706020507" pitchFamily="18" charset="2"/>
              <a:buChar char="-"/>
              <a:defRPr sz="1400"/>
            </a:lvl3pPr>
            <a:lvl4pPr marL="237061" indent="-237061">
              <a:lnSpc>
                <a:spcPct val="100000"/>
              </a:lnSpc>
              <a:spcBef>
                <a:spcPts val="200"/>
              </a:spcBef>
              <a:spcAft>
                <a:spcPts val="200"/>
              </a:spcAft>
              <a:buClr>
                <a:schemeClr val="tx1"/>
              </a:buClr>
              <a:buFont typeface="+mj-lt"/>
              <a:buAutoNum type="arabicPeriod"/>
              <a:defRPr sz="1400"/>
            </a:lvl4pPr>
            <a:lvl5pPr marL="0" indent="0">
              <a:lnSpc>
                <a:spcPct val="100000"/>
              </a:lnSpc>
              <a:spcBef>
                <a:spcPts val="200"/>
              </a:spcBef>
              <a:spcAft>
                <a:spcPts val="200"/>
              </a:spcAft>
              <a:buFont typeface="Arial" panose="020B0604020202020204" pitchFamily="34" charset="0"/>
              <a:buNone/>
              <a:defRPr sz="1400" baseline="0"/>
            </a:lvl5pPr>
            <a:lvl6pPr marL="179388" indent="-179388">
              <a:lnSpc>
                <a:spcPct val="100000"/>
              </a:lnSpc>
              <a:spcBef>
                <a:spcPts val="200"/>
              </a:spcBef>
              <a:spcAft>
                <a:spcPts val="200"/>
              </a:spcAft>
              <a:buFont typeface="Symbol" panose="05050102010706020507" pitchFamily="18" charset="2"/>
              <a:buChar char="-"/>
              <a:defRPr sz="1200"/>
            </a:lvl6pPr>
            <a:lvl7pPr marL="0" indent="0">
              <a:lnSpc>
                <a:spcPct val="100000"/>
              </a:lnSpc>
              <a:spcBef>
                <a:spcPts val="200"/>
              </a:spcBef>
              <a:spcAft>
                <a:spcPts val="200"/>
              </a:spcAft>
              <a:buFont typeface="Arial" panose="020B0604020202020204" pitchFamily="34" charset="0"/>
              <a:buNone/>
              <a:defRPr sz="1200"/>
            </a:lvl7pPr>
            <a:lvl8pPr marL="0" indent="0">
              <a:lnSpc>
                <a:spcPct val="100000"/>
              </a:lnSpc>
              <a:spcBef>
                <a:spcPts val="200"/>
              </a:spcBef>
              <a:spcAft>
                <a:spcPts val="200"/>
              </a:spcAft>
              <a:buFont typeface="Arial" panose="020B0604020202020204" pitchFamily="34" charset="0"/>
              <a:buNone/>
              <a:defRPr sz="1100"/>
            </a:lvl8pPr>
            <a:lvl9pPr marL="122764" indent="-122764">
              <a:lnSpc>
                <a:spcPct val="100000"/>
              </a:lnSpc>
              <a:spcBef>
                <a:spcPts val="200"/>
              </a:spcBef>
              <a:spcAft>
                <a:spcPts val="200"/>
              </a:spcAft>
              <a:buFont typeface="+mj-lt"/>
              <a:buAutoNum type="arabicParenR"/>
              <a:defRPr sz="800"/>
            </a:lvl9pPr>
          </a:lstStyle>
          <a:p>
            <a:pPr marL="0" marR="0" lvl="0" indent="0" algn="l" defTabSz="864017" rtl="0" eaLnBrk="1" fontAlgn="auto" latinLnBrk="0" hangingPunct="1">
              <a:lnSpc>
                <a:spcPct val="100000"/>
              </a:lnSpc>
              <a:spcBef>
                <a:spcPts val="200"/>
              </a:spcBef>
              <a:spcAft>
                <a:spcPts val="0"/>
              </a:spcAft>
              <a:buClrTx/>
              <a:buSzTx/>
              <a:buFont typeface="Arial" panose="020B0604020202020204" pitchFamily="34" charset="0"/>
              <a:buNone/>
              <a:tabLst/>
              <a:defRPr/>
            </a:pPr>
            <a:r>
              <a:rPr lang="de-DE" altLang="de-DE" sz="900" b="1" dirty="0">
                <a:solidFill>
                  <a:srgbClr val="13A0D3"/>
                </a:solidFill>
                <a:latin typeface="Allianz Neo" panose="020B0504020203020204" pitchFamily="34" charset="0"/>
              </a:rPr>
              <a:t>Sortierfeld 1: </a:t>
            </a:r>
            <a:r>
              <a:rPr kumimoji="0" lang="de-DE" altLang="de-DE" sz="900" b="1" i="0" u="sng" strike="noStrike" kern="1200" cap="none" spc="0" normalizeH="0" baseline="0" noProof="0" dirty="0">
                <a:ln>
                  <a:noFill/>
                </a:ln>
                <a:solidFill>
                  <a:srgbClr val="003781"/>
                </a:solidFill>
                <a:effectLst/>
                <a:uLnTx/>
                <a:uFillTx/>
                <a:latin typeface="Allianz Neo" panose="020B0504020203020204" pitchFamily="34" charset="0"/>
                <a:ea typeface="+mn-ea"/>
                <a:cs typeface="+mn-cs"/>
              </a:rPr>
              <a:t>EB-Produkt</a:t>
            </a:r>
            <a:br>
              <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br>
            <a:r>
              <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Ausprägungen und Sortiermöglichkeit: </a:t>
            </a:r>
          </a:p>
          <a:p>
            <a:pPr marL="171450" marR="0" lvl="0" indent="-171450" algn="l" defTabSz="864017"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de-DE" altLang="de-DE" sz="9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Name und</a:t>
            </a:r>
            <a:r>
              <a:rPr kumimoji="0" lang="de-DE" altLang="de-DE" sz="900" b="1" i="0" u="none" strike="noStrike" kern="1200" cap="none" spc="0" normalizeH="0" noProof="0" dirty="0">
                <a:ln>
                  <a:noFill/>
                </a:ln>
                <a:solidFill>
                  <a:srgbClr val="003781"/>
                </a:solidFill>
                <a:effectLst/>
                <a:uLnTx/>
                <a:uFillTx/>
                <a:latin typeface="Allianz Neo" panose="020B0504020203020204" pitchFamily="34" charset="0"/>
                <a:ea typeface="+mn-ea"/>
                <a:cs typeface="+mn-cs"/>
              </a:rPr>
              <a:t> Vorsorgekonzept des Produktes. </a:t>
            </a:r>
            <a:r>
              <a:rPr lang="de-DE" altLang="de-DE" sz="900" dirty="0">
                <a:solidFill>
                  <a:srgbClr val="003781"/>
                </a:solidFill>
                <a:latin typeface="Allianz Neo" panose="020B0504020203020204" pitchFamily="34" charset="0"/>
              </a:rPr>
              <a:t>Diese werden als Abkürzungen angezeigt. Das Abkürzungsverzeichnis finden Sie auf</a:t>
            </a:r>
            <a:r>
              <a:rPr lang="de-DE" altLang="de-DE" sz="900" dirty="0">
                <a:solidFill>
                  <a:srgbClr val="FF0000"/>
                </a:solidFill>
                <a:latin typeface="Allianz Neo" panose="020B0504020203020204" pitchFamily="34" charset="0"/>
              </a:rPr>
              <a:t> </a:t>
            </a:r>
            <a:r>
              <a:rPr lang="de-DE" altLang="de-DE" sz="900" dirty="0">
                <a:solidFill>
                  <a:srgbClr val="003781"/>
                </a:solidFill>
                <a:latin typeface="Allianz Neo" panose="020B0504020203020204" pitchFamily="34" charset="0"/>
              </a:rPr>
              <a:t>Folie 11.</a:t>
            </a:r>
          </a:p>
          <a:p>
            <a:pPr marL="0" marR="0" lvl="0" indent="0" algn="l" defTabSz="864017" rtl="0" eaLnBrk="1" fontAlgn="auto" latinLnBrk="0" hangingPunct="1">
              <a:lnSpc>
                <a:spcPct val="100000"/>
              </a:lnSpc>
              <a:spcBef>
                <a:spcPts val="200"/>
              </a:spcBef>
              <a:spcAft>
                <a:spcPts val="0"/>
              </a:spcAft>
              <a:buClrTx/>
              <a:buSzTx/>
              <a:buFont typeface="Arial" panose="020B0604020202020204" pitchFamily="34" charset="0"/>
              <a:buNone/>
              <a:tabLst/>
              <a:defRPr/>
            </a:pPr>
            <a:endParaRPr kumimoji="0" lang="de-DE" altLang="de-DE" sz="9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p>
            <a:pPr marL="0" marR="0" lvl="0" indent="0" algn="l" defTabSz="864017" rtl="0" eaLnBrk="1" fontAlgn="auto" latinLnBrk="0" hangingPunct="1">
              <a:lnSpc>
                <a:spcPct val="100000"/>
              </a:lnSpc>
              <a:spcBef>
                <a:spcPts val="200"/>
              </a:spcBef>
              <a:spcAft>
                <a:spcPts val="0"/>
              </a:spcAft>
              <a:buClrTx/>
              <a:buSzTx/>
              <a:buFont typeface="Arial" panose="020B0604020202020204" pitchFamily="34" charset="0"/>
              <a:buNone/>
              <a:tabLst/>
              <a:defRPr/>
            </a:pPr>
            <a:r>
              <a:rPr lang="de-DE" altLang="de-DE" sz="900" b="1" dirty="0">
                <a:solidFill>
                  <a:srgbClr val="13A0D3"/>
                </a:solidFill>
                <a:latin typeface="Allianz Neo" panose="020B0504020203020204" pitchFamily="34" charset="0"/>
              </a:rPr>
              <a:t>Sortierfeld 2: </a:t>
            </a:r>
            <a:r>
              <a:rPr lang="de-DE" altLang="de-DE" sz="900" b="1" u="sng" dirty="0">
                <a:solidFill>
                  <a:srgbClr val="003781"/>
                </a:solidFill>
                <a:latin typeface="Allianz Neo" panose="020B0504020203020204" pitchFamily="34" charset="0"/>
              </a:rPr>
              <a:t>Kunden-</a:t>
            </a:r>
            <a:r>
              <a:rPr kumimoji="0" lang="de-DE" altLang="de-DE" sz="900" b="1" i="0" u="sng" strike="noStrike" kern="1200" cap="none" spc="0" normalizeH="0" baseline="0" noProof="0" dirty="0">
                <a:ln>
                  <a:noFill/>
                </a:ln>
                <a:solidFill>
                  <a:srgbClr val="003781"/>
                </a:solidFill>
                <a:effectLst/>
                <a:uLnTx/>
                <a:uFillTx/>
                <a:latin typeface="Allianz Neo" panose="020B0504020203020204" pitchFamily="34" charset="0"/>
                <a:ea typeface="+mn-ea"/>
                <a:cs typeface="+mn-cs"/>
              </a:rPr>
              <a:t>Ansprache</a:t>
            </a:r>
            <a:br>
              <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br>
            <a:r>
              <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Ausprägungen und Sortiermöglichkeit:</a:t>
            </a:r>
          </a:p>
          <a:p>
            <a:pPr marL="171450" marR="0" lvl="0" indent="-171450" algn="l" defTabSz="864017"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de-DE" altLang="de-DE" sz="900" b="1" dirty="0">
                <a:solidFill>
                  <a:srgbClr val="003781"/>
                </a:solidFill>
                <a:latin typeface="Allianz Neo" panose="020B0504020203020204" pitchFamily="34" charset="0"/>
              </a:rPr>
              <a:t>Brief Zuzahlung</a:t>
            </a:r>
            <a:r>
              <a:rPr lang="de-DE" altLang="de-DE" sz="900" dirty="0">
                <a:solidFill>
                  <a:srgbClr val="003781"/>
                </a:solidFill>
                <a:latin typeface="Allianz Neo" panose="020B0504020203020204" pitchFamily="34" charset="0"/>
              </a:rPr>
              <a:t>: Verträge, zu denen ein Brief Zuzahlung versendet wird.</a:t>
            </a:r>
          </a:p>
          <a:p>
            <a:pPr marL="171450" marR="0" lvl="0" indent="-171450" algn="l" defTabSz="864017"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de-DE" altLang="de-DE" sz="900" b="1" dirty="0">
                <a:solidFill>
                  <a:srgbClr val="003781"/>
                </a:solidFill>
                <a:latin typeface="Allianz Neo" panose="020B0504020203020204" pitchFamily="34" charset="0"/>
              </a:rPr>
              <a:t>Brief </a:t>
            </a:r>
            <a:r>
              <a:rPr lang="de-DE" altLang="de-DE" sz="900" b="1" dirty="0" err="1">
                <a:solidFill>
                  <a:srgbClr val="003781"/>
                </a:solidFill>
                <a:latin typeface="Allianz Neo" panose="020B0504020203020204" pitchFamily="34" charset="0"/>
              </a:rPr>
              <a:t>Neuabschl</a:t>
            </a:r>
            <a:r>
              <a:rPr lang="de-DE" altLang="de-DE" sz="900" b="1" dirty="0">
                <a:solidFill>
                  <a:srgbClr val="003781"/>
                </a:solidFill>
                <a:latin typeface="Allianz Neo" panose="020B0504020203020204" pitchFamily="34" charset="0"/>
              </a:rPr>
              <a:t>.: </a:t>
            </a:r>
            <a:r>
              <a:rPr lang="de-DE" altLang="de-DE" sz="900" dirty="0">
                <a:solidFill>
                  <a:srgbClr val="003781"/>
                </a:solidFill>
                <a:latin typeface="Allianz Neo" panose="020B0504020203020204" pitchFamily="34" charset="0"/>
              </a:rPr>
              <a:t>Kunden, die einen Brief Neuabschluss erhalten.</a:t>
            </a:r>
          </a:p>
          <a:p>
            <a:pPr marL="171450" marR="0" lvl="0" indent="-171450" algn="l" defTabSz="864017"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de-DE" altLang="de-DE" sz="900" b="1" i="0" u="none" strike="noStrike" kern="1200" cap="none" spc="0" normalizeH="0" baseline="0" dirty="0">
                <a:ln>
                  <a:noFill/>
                </a:ln>
                <a:solidFill>
                  <a:srgbClr val="003781"/>
                </a:solidFill>
                <a:effectLst/>
                <a:uLnTx/>
                <a:uFillTx/>
                <a:latin typeface="Allianz Neo" panose="020B0504020203020204" pitchFamily="34" charset="0"/>
                <a:ea typeface="+mn-ea"/>
                <a:cs typeface="+mn-cs"/>
              </a:rPr>
              <a:t>Keine Ansprache</a:t>
            </a:r>
            <a:r>
              <a:rPr kumimoji="0" lang="de-DE" altLang="de-DE" sz="900" b="0" i="0" u="none" strike="noStrike" kern="1200" cap="none" spc="0" normalizeH="0" baseline="0" dirty="0">
                <a:ln>
                  <a:noFill/>
                </a:ln>
                <a:solidFill>
                  <a:srgbClr val="003781"/>
                </a:solidFill>
                <a:effectLst/>
                <a:uLnTx/>
                <a:uFillTx/>
                <a:latin typeface="Allianz Neo" panose="020B0504020203020204" pitchFamily="34" charset="0"/>
                <a:ea typeface="+mn-ea"/>
                <a:cs typeface="+mn-cs"/>
              </a:rPr>
              <a:t>: Zu diesen Kunden/Vertr</a:t>
            </a:r>
            <a:r>
              <a:rPr lang="de-DE" altLang="de-DE" sz="900" dirty="0">
                <a:solidFill>
                  <a:srgbClr val="003781"/>
                </a:solidFill>
                <a:latin typeface="Allianz Neo" panose="020B0504020203020204" pitchFamily="34" charset="0"/>
              </a:rPr>
              <a:t>ägen erfolgt keine </a:t>
            </a:r>
            <a:r>
              <a:rPr kumimoji="0" lang="de-DE" altLang="de-DE" sz="900" b="0" i="0" u="none" strike="noStrike" kern="1200" cap="none" spc="0" normalizeH="0" baseline="0" dirty="0">
                <a:ln>
                  <a:noFill/>
                </a:ln>
                <a:solidFill>
                  <a:srgbClr val="003781"/>
                </a:solidFill>
                <a:effectLst/>
                <a:uLnTx/>
                <a:uFillTx/>
                <a:latin typeface="Allianz Neo" panose="020B0504020203020204" pitchFamily="34" charset="0"/>
                <a:ea typeface="+mn-ea"/>
                <a:cs typeface="+mn-cs"/>
              </a:rPr>
              <a:t>Brief- oder Emailansprache.</a:t>
            </a:r>
          </a:p>
          <a:p>
            <a:pPr marL="171450" marR="0" lvl="0" indent="-171450" algn="l" defTabSz="864017"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de-DE" altLang="de-DE" sz="900" b="1" noProof="0" dirty="0">
                <a:solidFill>
                  <a:srgbClr val="003781"/>
                </a:solidFill>
                <a:latin typeface="Allianz Neo" panose="020B0504020203020204" pitchFamily="34" charset="0"/>
              </a:rPr>
              <a:t>Abgewählt: </a:t>
            </a:r>
            <a:r>
              <a:rPr lang="de-DE" altLang="de-DE" sz="900" dirty="0">
                <a:solidFill>
                  <a:srgbClr val="003781"/>
                </a:solidFill>
                <a:latin typeface="Allianz Neo" panose="020B0504020203020204" pitchFamily="34" charset="0"/>
              </a:rPr>
              <a:t>Diese Kunden wurden aus der Briefaktion abgewählt</a:t>
            </a:r>
            <a:br>
              <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br>
            <a:endParaRPr kumimoji="0" lang="de-DE" altLang="de-DE" sz="9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p>
            <a:pPr marL="0" marR="0" lvl="0" indent="0" algn="l" defTabSz="864017" rtl="0" eaLnBrk="1" fontAlgn="auto" latinLnBrk="0" hangingPunct="1">
              <a:lnSpc>
                <a:spcPct val="100000"/>
              </a:lnSpc>
              <a:spcBef>
                <a:spcPts val="200"/>
              </a:spcBef>
              <a:spcAft>
                <a:spcPts val="0"/>
              </a:spcAft>
              <a:buClrTx/>
              <a:buSzTx/>
              <a:buFont typeface="Arial" panose="020B0604020202020204" pitchFamily="34" charset="0"/>
              <a:buNone/>
              <a:tabLst/>
              <a:defRPr/>
            </a:pPr>
            <a:r>
              <a:rPr lang="de-DE" altLang="de-DE" sz="900" b="1" dirty="0">
                <a:solidFill>
                  <a:srgbClr val="13A0D3"/>
                </a:solidFill>
                <a:latin typeface="Allianz Neo" panose="020B0504020203020204" pitchFamily="34" charset="0"/>
              </a:rPr>
              <a:t>Sortierfeld 3: </a:t>
            </a:r>
            <a:r>
              <a:rPr kumimoji="0" lang="de-DE" altLang="de-DE" sz="900" b="1" i="0" u="sng" strike="noStrike" kern="1200" cap="none" spc="0" normalizeH="0" baseline="0" noProof="0" dirty="0">
                <a:ln>
                  <a:noFill/>
                </a:ln>
                <a:solidFill>
                  <a:srgbClr val="003781"/>
                </a:solidFill>
                <a:effectLst/>
                <a:uLnTx/>
                <a:uFillTx/>
                <a:latin typeface="Allianz Neo" panose="020B0504020203020204" pitchFamily="34" charset="0"/>
                <a:ea typeface="+mn-ea"/>
                <a:cs typeface="+mn-cs"/>
              </a:rPr>
              <a:t>Novationsgefährdet</a:t>
            </a:r>
            <a:endParaRPr kumimoji="0" lang="de-DE" altLang="de-DE" sz="900" b="0" i="0" u="sng"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p>
            <a:pPr lvl="0">
              <a:lnSpc>
                <a:spcPct val="100000"/>
              </a:lnSpc>
              <a:defRPr/>
            </a:pPr>
            <a:r>
              <a:rPr lang="de-DE" altLang="de-DE" sz="900" dirty="0">
                <a:solidFill>
                  <a:srgbClr val="003781"/>
                </a:solidFill>
                <a:latin typeface="Allianz Neo" panose="020B0504020203020204" pitchFamily="34" charset="0"/>
              </a:rPr>
              <a:t>Ausprägungen und Sortiermöglichkeit:</a:t>
            </a:r>
          </a:p>
          <a:p>
            <a:pPr marL="171450" lvl="0" indent="-171450">
              <a:lnSpc>
                <a:spcPct val="100000"/>
              </a:lnSpc>
              <a:buFont typeface="Arial" panose="020B0604020202020204" pitchFamily="34" charset="0"/>
              <a:buChar char="•"/>
              <a:defRPr/>
            </a:pPr>
            <a:r>
              <a:rPr lang="de-DE" altLang="de-DE" sz="900" b="1" dirty="0">
                <a:solidFill>
                  <a:srgbClr val="003781"/>
                </a:solidFill>
                <a:latin typeface="Allianz Neo" panose="020B0504020203020204" pitchFamily="34" charset="0"/>
              </a:rPr>
              <a:t>Ja / Nein / Bitte prüfen</a:t>
            </a:r>
          </a:p>
          <a:p>
            <a:pPr>
              <a:lnSpc>
                <a:spcPct val="100000"/>
              </a:lnSpc>
              <a:defRPr/>
            </a:pPr>
            <a:r>
              <a:rPr kumimoji="0" lang="de-DE" sz="900" i="0" u="none" strike="noStrike" kern="0" cap="none" spc="0" normalizeH="0" baseline="0" noProof="0" dirty="0">
                <a:ln>
                  <a:noFill/>
                </a:ln>
                <a:solidFill>
                  <a:srgbClr val="003781"/>
                </a:solidFill>
                <a:effectLst/>
                <a:uLnTx/>
                <a:uFillTx/>
                <a:latin typeface="Allianz Neo PPT"/>
                <a:ea typeface="+mn-ea"/>
                <a:cs typeface="+mn-cs"/>
              </a:rPr>
              <a:t>Verträge </a:t>
            </a:r>
            <a:r>
              <a:rPr kumimoji="0" lang="de-DE" sz="900" i="0" u="none" strike="noStrike" kern="0" cap="none" spc="0" normalizeH="0" baseline="0" noProof="0" dirty="0" err="1">
                <a:ln>
                  <a:noFill/>
                </a:ln>
                <a:solidFill>
                  <a:srgbClr val="003781"/>
                </a:solidFill>
                <a:effectLst/>
                <a:uLnTx/>
                <a:uFillTx/>
                <a:latin typeface="Allianz Neo PPT"/>
                <a:ea typeface="+mn-ea"/>
                <a:cs typeface="+mn-cs"/>
              </a:rPr>
              <a:t>SchatzBriefe</a:t>
            </a:r>
            <a:r>
              <a:rPr kumimoji="0" lang="de-DE" sz="900" i="0" u="none" strike="noStrike" kern="0" cap="none" spc="0" normalizeH="0" baseline="0" noProof="0" dirty="0">
                <a:ln>
                  <a:noFill/>
                </a:ln>
                <a:solidFill>
                  <a:srgbClr val="003781"/>
                </a:solidFill>
                <a:effectLst/>
                <a:uLnTx/>
                <a:uFillTx/>
                <a:latin typeface="Allianz Neo PPT"/>
                <a:ea typeface="+mn-ea"/>
                <a:cs typeface="+mn-cs"/>
              </a:rPr>
              <a:t> und </a:t>
            </a:r>
            <a:r>
              <a:rPr kumimoji="0" lang="de-DE" sz="900" i="0" u="none" strike="noStrike" kern="0" cap="none" spc="0" normalizeH="0" baseline="0" noProof="0" dirty="0" err="1">
                <a:ln>
                  <a:noFill/>
                </a:ln>
                <a:solidFill>
                  <a:srgbClr val="003781"/>
                </a:solidFill>
                <a:effectLst/>
                <a:uLnTx/>
                <a:uFillTx/>
                <a:latin typeface="Allianz Neo PPT"/>
                <a:ea typeface="+mn-ea"/>
                <a:cs typeface="+mn-cs"/>
              </a:rPr>
              <a:t>PrivatRenten</a:t>
            </a:r>
            <a:r>
              <a:rPr kumimoji="0" lang="de-DE" sz="900" i="0" u="none" strike="noStrike" kern="0" cap="none" spc="0" normalizeH="0" baseline="0" noProof="0" dirty="0">
                <a:ln>
                  <a:noFill/>
                </a:ln>
                <a:solidFill>
                  <a:srgbClr val="003781"/>
                </a:solidFill>
                <a:effectLst/>
                <a:uLnTx/>
                <a:uFillTx/>
                <a:latin typeface="Allianz Neo PPT"/>
                <a:ea typeface="+mn-ea"/>
                <a:cs typeface="+mn-cs"/>
              </a:rPr>
              <a:t> werden in der Aktion als novationsgefährdet gekennzeichnet, sofern die Differenz aus abgeschlossenem Einmalbetrag und </a:t>
            </a:r>
            <a:r>
              <a:rPr lang="de-DE" sz="900" kern="0" dirty="0">
                <a:solidFill>
                  <a:srgbClr val="003781"/>
                </a:solidFill>
                <a:latin typeface="Allianz Neo PPT"/>
              </a:rPr>
              <a:t>der </a:t>
            </a:r>
            <a:r>
              <a:rPr kumimoji="0" lang="de-DE" sz="900" i="0" u="none" strike="noStrike" kern="0" cap="none" spc="0" normalizeH="0" baseline="0" noProof="0" dirty="0">
                <a:ln>
                  <a:noFill/>
                </a:ln>
                <a:solidFill>
                  <a:srgbClr val="003781"/>
                </a:solidFill>
                <a:effectLst/>
                <a:uLnTx/>
                <a:uFillTx/>
                <a:latin typeface="Allianz Neo PPT"/>
                <a:ea typeface="+mn-ea"/>
                <a:cs typeface="+mn-cs"/>
              </a:rPr>
              <a:t>Summe der gesamten Zuzahlungen &lt;5.000€ beträgt. Ausnahme: Verträge mit </a:t>
            </a:r>
            <a:r>
              <a:rPr kumimoji="0" lang="de-DE" sz="900" i="0" u="none" strike="noStrike" kern="0" cap="none" spc="0" normalizeH="0" baseline="0" noProof="0" dirty="0" err="1">
                <a:ln>
                  <a:noFill/>
                </a:ln>
                <a:solidFill>
                  <a:srgbClr val="003781"/>
                </a:solidFill>
                <a:effectLst/>
                <a:uLnTx/>
                <a:uFillTx/>
                <a:latin typeface="Allianz Neo PPT"/>
                <a:ea typeface="+mn-ea"/>
                <a:cs typeface="+mn-cs"/>
              </a:rPr>
              <a:t>Vertragsbegin</a:t>
            </a:r>
            <a:r>
              <a:rPr lang="de-DE" sz="900" kern="0" dirty="0">
                <a:solidFill>
                  <a:srgbClr val="003781"/>
                </a:solidFill>
                <a:latin typeface="Allianz Neo PPT"/>
              </a:rPr>
              <a:t>n vor 2005 tragen alle die Kennung „Ja“. </a:t>
            </a:r>
            <a:r>
              <a:rPr kumimoji="0" lang="de-DE" sz="900" i="0" u="none" strike="noStrike" kern="0" cap="none" spc="0" normalizeH="0" baseline="0" noProof="0" dirty="0">
                <a:ln>
                  <a:noFill/>
                </a:ln>
                <a:solidFill>
                  <a:srgbClr val="003781"/>
                </a:solidFill>
                <a:effectLst/>
                <a:uLnTx/>
                <a:uFillTx/>
                <a:latin typeface="Allianz Neo PPT"/>
                <a:ea typeface="+mn-ea"/>
                <a:cs typeface="+mn-cs"/>
              </a:rPr>
              <a:t>In Verträge APD(W) und PFP tragen die </a:t>
            </a:r>
            <a:r>
              <a:rPr lang="de-DE" sz="900" kern="0" dirty="0">
                <a:solidFill>
                  <a:srgbClr val="003781"/>
                </a:solidFill>
                <a:latin typeface="Allianz Neo PPT"/>
              </a:rPr>
              <a:t>Kennung „Nein“. </a:t>
            </a:r>
            <a:r>
              <a:rPr kumimoji="0" lang="de-DE" sz="900" i="0" u="none" strike="noStrike" kern="0" cap="none" spc="0" normalizeH="0" baseline="0" noProof="0" dirty="0">
                <a:ln>
                  <a:noFill/>
                </a:ln>
                <a:solidFill>
                  <a:srgbClr val="003781"/>
                </a:solidFill>
                <a:effectLst/>
                <a:uLnTx/>
                <a:uFillTx/>
                <a:latin typeface="Allianz Neo PPT"/>
                <a:ea typeface="+mn-ea"/>
                <a:cs typeface="+mn-cs"/>
              </a:rPr>
              <a:t>Zuzahlungen zur Vermögenspolice bitten wie Sie selbst zu prüfen.</a:t>
            </a:r>
          </a:p>
          <a:p>
            <a:pPr>
              <a:lnSpc>
                <a:spcPct val="100000"/>
              </a:lnSpc>
              <a:defRPr/>
            </a:pPr>
            <a:endParaRPr kumimoji="0" lang="de-DE" altLang="de-DE" sz="9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p>
            <a:pPr marL="0" marR="0" lvl="0" indent="0" algn="l" defTabSz="864017" rtl="0" eaLnBrk="1" fontAlgn="auto" latinLnBrk="0" hangingPunct="1">
              <a:lnSpc>
                <a:spcPct val="100000"/>
              </a:lnSpc>
              <a:spcBef>
                <a:spcPts val="200"/>
              </a:spcBef>
              <a:spcAft>
                <a:spcPts val="0"/>
              </a:spcAft>
              <a:buClrTx/>
              <a:buSzTx/>
              <a:buFont typeface="Arial" panose="020B0604020202020204" pitchFamily="34" charset="0"/>
              <a:buNone/>
              <a:tabLst/>
              <a:defRPr/>
            </a:pPr>
            <a:r>
              <a:rPr lang="de-DE" altLang="de-DE" sz="900" b="1" dirty="0">
                <a:solidFill>
                  <a:srgbClr val="13A0D3"/>
                </a:solidFill>
                <a:latin typeface="Allianz Neo" panose="020B0504020203020204" pitchFamily="34" charset="0"/>
              </a:rPr>
              <a:t>Sortierfeld 4: </a:t>
            </a:r>
            <a:r>
              <a:rPr kumimoji="0" lang="de-DE" altLang="de-DE" sz="900" b="1" i="0" u="sng" strike="noStrike" kern="1200" cap="none" spc="0" normalizeH="0" baseline="0" noProof="0" dirty="0">
                <a:ln>
                  <a:noFill/>
                </a:ln>
                <a:solidFill>
                  <a:srgbClr val="003781"/>
                </a:solidFill>
                <a:effectLst/>
                <a:uLnTx/>
                <a:uFillTx/>
                <a:latin typeface="Allianz Neo" panose="020B0504020203020204" pitchFamily="34" charset="0"/>
                <a:ea typeface="+mn-ea"/>
                <a:cs typeface="+mn-cs"/>
              </a:rPr>
              <a:t>Urspr. EB – APD-</a:t>
            </a:r>
            <a:r>
              <a:rPr kumimoji="0" lang="de-DE" altLang="de-DE" sz="900" b="1" i="0" u="sng" strike="noStrike" kern="1200" cap="none" spc="0" normalizeH="0" baseline="0" noProof="0" dirty="0" err="1">
                <a:ln>
                  <a:noFill/>
                </a:ln>
                <a:solidFill>
                  <a:srgbClr val="003781"/>
                </a:solidFill>
                <a:effectLst/>
                <a:uLnTx/>
                <a:uFillTx/>
                <a:latin typeface="Allianz Neo" panose="020B0504020203020204" pitchFamily="34" charset="0"/>
                <a:ea typeface="+mn-ea"/>
                <a:cs typeface="+mn-cs"/>
              </a:rPr>
              <a:t>Sum</a:t>
            </a:r>
            <a:r>
              <a:rPr kumimoji="0" lang="de-DE" altLang="de-DE" sz="900" b="1" i="0" u="sng" strike="noStrike" kern="1200" cap="none" spc="0" normalizeH="0" baseline="0" noProof="0" dirty="0">
                <a:ln>
                  <a:noFill/>
                </a:ln>
                <a:solidFill>
                  <a:srgbClr val="003781"/>
                </a:solidFill>
                <a:effectLst/>
                <a:uLnTx/>
                <a:uFillTx/>
                <a:latin typeface="Allianz Neo" panose="020B0504020203020204" pitchFamily="34" charset="0"/>
                <a:ea typeface="+mn-ea"/>
                <a:cs typeface="+mn-cs"/>
              </a:rPr>
              <a:t>.</a:t>
            </a:r>
          </a:p>
          <a:p>
            <a:pPr lvl="0">
              <a:lnSpc>
                <a:spcPct val="100000"/>
              </a:lnSpc>
              <a:defRPr/>
            </a:pPr>
            <a:r>
              <a:rPr lang="de-DE" altLang="de-DE" sz="900" dirty="0">
                <a:solidFill>
                  <a:srgbClr val="003781"/>
                </a:solidFill>
                <a:latin typeface="Allianz Neo" panose="020B0504020203020204" pitchFamily="34" charset="0"/>
              </a:rPr>
              <a:t>Ausprägungen und Sortiermöglichkeit:</a:t>
            </a:r>
          </a:p>
          <a:p>
            <a:pPr marL="171450" marR="0" lvl="0" indent="-171450" algn="l" defTabSz="864017"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de-DE" altLang="de-DE" sz="9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Höhe des Einmalbeitrags oder der APD-Anlagesumme bei Vertragsschluss in €.</a:t>
            </a:r>
          </a:p>
          <a:p>
            <a:pPr marL="0" marR="0" lvl="0" indent="0" algn="l" defTabSz="864017" rtl="0" eaLnBrk="1" fontAlgn="auto" latinLnBrk="0" hangingPunct="1">
              <a:lnSpc>
                <a:spcPct val="100000"/>
              </a:lnSpc>
              <a:spcBef>
                <a:spcPts val="200"/>
              </a:spcBef>
              <a:spcAft>
                <a:spcPts val="0"/>
              </a:spcAft>
              <a:buClrTx/>
              <a:buSzTx/>
              <a:buFont typeface="Arial" panose="020B0604020202020204" pitchFamily="34" charset="0"/>
              <a:buNone/>
              <a:tabLst/>
              <a:defRPr/>
            </a:pPr>
            <a:endParaRPr kumimoji="0" lang="de-DE" altLang="de-DE" sz="85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p:txBody>
      </p:sp>
      <p:sp>
        <p:nvSpPr>
          <p:cNvPr id="26" name="Ellipse 2">
            <a:extLst>
              <a:ext uri="{FF2B5EF4-FFF2-40B4-BE49-F238E27FC236}">
                <a16:creationId xmlns:a16="http://schemas.microsoft.com/office/drawing/2014/main" id="{E56D27F9-29B1-5873-E5C3-C975804FACB6}"/>
              </a:ext>
            </a:extLst>
          </p:cNvPr>
          <p:cNvSpPr>
            <a:spLocks noChangeArrowheads="1"/>
          </p:cNvSpPr>
          <p:nvPr/>
        </p:nvSpPr>
        <p:spPr bwMode="auto">
          <a:xfrm>
            <a:off x="5904657" y="2287841"/>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A</a:t>
            </a:r>
          </a:p>
        </p:txBody>
      </p:sp>
      <p:sp>
        <p:nvSpPr>
          <p:cNvPr id="27" name="Ellipse 14">
            <a:extLst>
              <a:ext uri="{FF2B5EF4-FFF2-40B4-BE49-F238E27FC236}">
                <a16:creationId xmlns:a16="http://schemas.microsoft.com/office/drawing/2014/main" id="{DD020124-1930-82B4-065B-E6EA8D4DB290}"/>
              </a:ext>
            </a:extLst>
          </p:cNvPr>
          <p:cNvSpPr>
            <a:spLocks noChangeArrowheads="1"/>
          </p:cNvSpPr>
          <p:nvPr/>
        </p:nvSpPr>
        <p:spPr bwMode="auto">
          <a:xfrm>
            <a:off x="5904657" y="3016067"/>
            <a:ext cx="228600" cy="227012"/>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B</a:t>
            </a:r>
          </a:p>
        </p:txBody>
      </p:sp>
      <p:sp>
        <p:nvSpPr>
          <p:cNvPr id="28" name="Ellipse 16">
            <a:extLst>
              <a:ext uri="{FF2B5EF4-FFF2-40B4-BE49-F238E27FC236}">
                <a16:creationId xmlns:a16="http://schemas.microsoft.com/office/drawing/2014/main" id="{A785111D-FE4A-6AFC-C7CD-3D8DADFA7E69}"/>
              </a:ext>
            </a:extLst>
          </p:cNvPr>
          <p:cNvSpPr>
            <a:spLocks noChangeArrowheads="1"/>
          </p:cNvSpPr>
          <p:nvPr/>
        </p:nvSpPr>
        <p:spPr bwMode="auto">
          <a:xfrm>
            <a:off x="5904657" y="4234424"/>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C</a:t>
            </a:r>
          </a:p>
        </p:txBody>
      </p:sp>
      <p:sp>
        <p:nvSpPr>
          <p:cNvPr id="29" name="Ellipse 17">
            <a:extLst>
              <a:ext uri="{FF2B5EF4-FFF2-40B4-BE49-F238E27FC236}">
                <a16:creationId xmlns:a16="http://schemas.microsoft.com/office/drawing/2014/main" id="{8E9975AB-B008-DC2D-D564-429F71E6A613}"/>
              </a:ext>
            </a:extLst>
          </p:cNvPr>
          <p:cNvSpPr>
            <a:spLocks noChangeArrowheads="1"/>
          </p:cNvSpPr>
          <p:nvPr/>
        </p:nvSpPr>
        <p:spPr bwMode="auto">
          <a:xfrm>
            <a:off x="5904657" y="5581686"/>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D</a:t>
            </a:r>
          </a:p>
        </p:txBody>
      </p:sp>
      <p:sp>
        <p:nvSpPr>
          <p:cNvPr id="76" name="Ellipse 2">
            <a:extLst>
              <a:ext uri="{FF2B5EF4-FFF2-40B4-BE49-F238E27FC236}">
                <a16:creationId xmlns:a16="http://schemas.microsoft.com/office/drawing/2014/main" id="{599A8039-BDAB-9E27-A568-A40FF3AE3A40}"/>
              </a:ext>
            </a:extLst>
          </p:cNvPr>
          <p:cNvSpPr>
            <a:spLocks noChangeArrowheads="1"/>
          </p:cNvSpPr>
          <p:nvPr/>
        </p:nvSpPr>
        <p:spPr bwMode="auto">
          <a:xfrm>
            <a:off x="2512796" y="3241477"/>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A</a:t>
            </a:r>
          </a:p>
        </p:txBody>
      </p:sp>
      <p:sp>
        <p:nvSpPr>
          <p:cNvPr id="77" name="Ellipse 14">
            <a:extLst>
              <a:ext uri="{FF2B5EF4-FFF2-40B4-BE49-F238E27FC236}">
                <a16:creationId xmlns:a16="http://schemas.microsoft.com/office/drawing/2014/main" id="{35B64414-6D25-BD9D-3F50-FC46C3E1D0AB}"/>
              </a:ext>
            </a:extLst>
          </p:cNvPr>
          <p:cNvSpPr>
            <a:spLocks noChangeArrowheads="1"/>
          </p:cNvSpPr>
          <p:nvPr/>
        </p:nvSpPr>
        <p:spPr bwMode="auto">
          <a:xfrm>
            <a:off x="3267684" y="3243065"/>
            <a:ext cx="228600" cy="227012"/>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B</a:t>
            </a:r>
          </a:p>
        </p:txBody>
      </p:sp>
      <p:sp>
        <p:nvSpPr>
          <p:cNvPr id="78" name="Ellipse 16">
            <a:extLst>
              <a:ext uri="{FF2B5EF4-FFF2-40B4-BE49-F238E27FC236}">
                <a16:creationId xmlns:a16="http://schemas.microsoft.com/office/drawing/2014/main" id="{58335632-ABB8-3897-AFDE-7CBBE39B2996}"/>
              </a:ext>
            </a:extLst>
          </p:cNvPr>
          <p:cNvSpPr>
            <a:spLocks noChangeArrowheads="1"/>
          </p:cNvSpPr>
          <p:nvPr/>
        </p:nvSpPr>
        <p:spPr bwMode="auto">
          <a:xfrm>
            <a:off x="4027896" y="3241477"/>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C</a:t>
            </a:r>
          </a:p>
        </p:txBody>
      </p:sp>
      <p:sp>
        <p:nvSpPr>
          <p:cNvPr id="79" name="Ellipse 17">
            <a:extLst>
              <a:ext uri="{FF2B5EF4-FFF2-40B4-BE49-F238E27FC236}">
                <a16:creationId xmlns:a16="http://schemas.microsoft.com/office/drawing/2014/main" id="{AC8D1D7E-0C13-0F22-A7FD-AA30B0D4345F}"/>
              </a:ext>
            </a:extLst>
          </p:cNvPr>
          <p:cNvSpPr>
            <a:spLocks noChangeArrowheads="1"/>
          </p:cNvSpPr>
          <p:nvPr/>
        </p:nvSpPr>
        <p:spPr bwMode="auto">
          <a:xfrm>
            <a:off x="4905992" y="3245907"/>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llianz Neo" panose="020B0504020203020204" pitchFamily="34" charset="0"/>
                <a:ea typeface="+mn-ea"/>
                <a:cs typeface="+mn-cs"/>
              </a:rPr>
              <a:t>D</a:t>
            </a:r>
          </a:p>
        </p:txBody>
      </p:sp>
      <p:sp>
        <p:nvSpPr>
          <p:cNvPr id="80" name="Textplatzhalter 2">
            <a:extLst>
              <a:ext uri="{FF2B5EF4-FFF2-40B4-BE49-F238E27FC236}">
                <a16:creationId xmlns:a16="http://schemas.microsoft.com/office/drawing/2014/main" id="{B4CE560A-1F59-2860-A50C-A11DEA4534CF}"/>
              </a:ext>
            </a:extLst>
          </p:cNvPr>
          <p:cNvSpPr txBox="1">
            <a:spLocks/>
          </p:cNvSpPr>
          <p:nvPr/>
        </p:nvSpPr>
        <p:spPr>
          <a:xfrm>
            <a:off x="483996" y="6087619"/>
            <a:ext cx="2349601" cy="92950"/>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8782"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899" b="0" i="0" u="none" strike="noStrike" kern="1200" cap="none" spc="0" normalizeH="0" baseline="0" noProof="0">
                <a:ln>
                  <a:noFill/>
                </a:ln>
                <a:solidFill>
                  <a:srgbClr val="003781"/>
                </a:solidFill>
                <a:effectLst/>
                <a:uLnTx/>
                <a:uFillTx/>
                <a:latin typeface="Allianz Neo PPT"/>
                <a:ea typeface="+mn-ea"/>
                <a:cs typeface="+mn-cs"/>
              </a:rPr>
              <a:t>Allianz Kunde und Markt - Multikanalmarketing</a:t>
            </a:r>
          </a:p>
        </p:txBody>
      </p:sp>
    </p:spTree>
    <p:extLst>
      <p:ext uri="{BB962C8B-B14F-4D97-AF65-F5344CB8AC3E}">
        <p14:creationId xmlns:p14="http://schemas.microsoft.com/office/powerpoint/2010/main" val="8099359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4800" dirty="0"/>
              <a:t>Bearbeitung im ACA </a:t>
            </a:r>
            <a:r>
              <a:rPr lang="de-DE" sz="4800" dirty="0">
                <a:solidFill>
                  <a:srgbClr val="13A0D3"/>
                </a:solidFill>
              </a:rPr>
              <a:t>Abkürzungsverzeichnis</a:t>
            </a:r>
            <a:r>
              <a:rPr lang="de-DE" sz="4800" dirty="0">
                <a:solidFill>
                  <a:srgbClr val="C0D0FF"/>
                </a:solidFill>
              </a:rPr>
              <a:t> </a:t>
            </a: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4</a:t>
            </a: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9002858" cy="252000"/>
          </a:xfrm>
        </p:spPr>
        <p:txBody>
          <a:bodyPr/>
          <a:lstStyle/>
          <a:p>
            <a:pPr defTabSz="864006">
              <a:defRPr/>
            </a:pPr>
            <a:r>
              <a:rPr lang="de-DE" dirty="0">
                <a:solidFill>
                  <a:srgbClr val="003781"/>
                </a:solidFill>
                <a:latin typeface="+mj-lt"/>
                <a:cs typeface="Arial" panose="020B0604020202020204" pitchFamily="34" charset="0"/>
              </a:rPr>
              <a:t>Briefaktion: Förderung und Zuzahlung Einmalbeitragsgeschäft 2024 (</a:t>
            </a:r>
            <a:r>
              <a:rPr lang="de-DE" dirty="0"/>
              <a:t>22783</a:t>
            </a:r>
            <a:r>
              <a:rPr lang="de-DE" dirty="0">
                <a:solidFill>
                  <a:srgbClr val="003781"/>
                </a:solidFill>
                <a:latin typeface="+mj-lt"/>
                <a:cs typeface="Arial" panose="020B0604020202020204" pitchFamily="34" charset="0"/>
              </a:rPr>
              <a:t>)</a:t>
            </a:r>
          </a:p>
        </p:txBody>
      </p:sp>
      <p:sp>
        <p:nvSpPr>
          <p:cNvPr id="9" name="Foliennummernplatzhalter 8"/>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11</a:t>
            </a:fld>
            <a:endParaRPr kumimoji="0" lang="en-GB"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31"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a:ln>
                  <a:noFill/>
                </a:ln>
                <a:solidFill>
                  <a:srgbClr val="003781"/>
                </a:solidFill>
                <a:effectLst/>
                <a:uLnTx/>
                <a:uFillTx/>
                <a:latin typeface="Allianz Neo PPT"/>
                <a:ea typeface="+mn-ea"/>
                <a:cs typeface="+mn-cs"/>
              </a:rPr>
              <a:t>Allianz Kunde und Markt - Multikanalmarketing</a:t>
            </a:r>
          </a:p>
        </p:txBody>
      </p:sp>
      <p:graphicFrame>
        <p:nvGraphicFramePr>
          <p:cNvPr id="3" name="Tabelle 2"/>
          <p:cNvGraphicFramePr>
            <a:graphicFrameLocks noGrp="1"/>
          </p:cNvGraphicFramePr>
          <p:nvPr>
            <p:extLst>
              <p:ext uri="{D42A27DB-BD31-4B8C-83A1-F6EECF244321}">
                <p14:modId xmlns:p14="http://schemas.microsoft.com/office/powerpoint/2010/main" val="1893704394"/>
              </p:ext>
            </p:extLst>
          </p:nvPr>
        </p:nvGraphicFramePr>
        <p:xfrm>
          <a:off x="482007" y="2404828"/>
          <a:ext cx="9914444" cy="3868509"/>
        </p:xfrm>
        <a:graphic>
          <a:graphicData uri="http://schemas.openxmlformats.org/drawingml/2006/table">
            <a:tbl>
              <a:tblPr firstRow="1" bandRow="1">
                <a:tableStyleId>{5C22544A-7EE6-4342-B048-85BDC9FD1C3A}</a:tableStyleId>
              </a:tblPr>
              <a:tblGrid>
                <a:gridCol w="1928684">
                  <a:extLst>
                    <a:ext uri="{9D8B030D-6E8A-4147-A177-3AD203B41FA5}">
                      <a16:colId xmlns:a16="http://schemas.microsoft.com/office/drawing/2014/main" val="2059576679"/>
                    </a:ext>
                  </a:extLst>
                </a:gridCol>
                <a:gridCol w="1097280">
                  <a:extLst>
                    <a:ext uri="{9D8B030D-6E8A-4147-A177-3AD203B41FA5}">
                      <a16:colId xmlns:a16="http://schemas.microsoft.com/office/drawing/2014/main" val="2347113730"/>
                    </a:ext>
                  </a:extLst>
                </a:gridCol>
                <a:gridCol w="1906385">
                  <a:extLst>
                    <a:ext uri="{9D8B030D-6E8A-4147-A177-3AD203B41FA5}">
                      <a16:colId xmlns:a16="http://schemas.microsoft.com/office/drawing/2014/main" val="3222428620"/>
                    </a:ext>
                  </a:extLst>
                </a:gridCol>
                <a:gridCol w="1324255">
                  <a:extLst>
                    <a:ext uri="{9D8B030D-6E8A-4147-A177-3AD203B41FA5}">
                      <a16:colId xmlns:a16="http://schemas.microsoft.com/office/drawing/2014/main" val="4186728477"/>
                    </a:ext>
                  </a:extLst>
                </a:gridCol>
                <a:gridCol w="2178174">
                  <a:extLst>
                    <a:ext uri="{9D8B030D-6E8A-4147-A177-3AD203B41FA5}">
                      <a16:colId xmlns:a16="http://schemas.microsoft.com/office/drawing/2014/main" val="3335395311"/>
                    </a:ext>
                  </a:extLst>
                </a:gridCol>
                <a:gridCol w="1479666">
                  <a:extLst>
                    <a:ext uri="{9D8B030D-6E8A-4147-A177-3AD203B41FA5}">
                      <a16:colId xmlns:a16="http://schemas.microsoft.com/office/drawing/2014/main" val="749735554"/>
                    </a:ext>
                  </a:extLst>
                </a:gridCol>
              </a:tblGrid>
              <a:tr h="530735">
                <a:tc>
                  <a:txBody>
                    <a:bodyPr/>
                    <a:lstStyle/>
                    <a:p>
                      <a:pPr algn="ctr"/>
                      <a:r>
                        <a:rPr lang="de-DE" sz="1400"/>
                        <a:t>Produktname</a:t>
                      </a:r>
                    </a:p>
                  </a:txBody>
                  <a:tcPr anchor="ctr">
                    <a:solidFill>
                      <a:srgbClr val="003781"/>
                    </a:solidFill>
                  </a:tcPr>
                </a:tc>
                <a:tc>
                  <a:txBody>
                    <a:bodyPr/>
                    <a:lstStyle/>
                    <a:p>
                      <a:pPr algn="ctr"/>
                      <a:r>
                        <a:rPr lang="de-DE" sz="1400"/>
                        <a:t>Abkürzung</a:t>
                      </a:r>
                    </a:p>
                  </a:txBody>
                  <a:tcPr anchor="ctr">
                    <a:solidFill>
                      <a:srgbClr val="00378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a:t>Produktname</a:t>
                      </a:r>
                    </a:p>
                  </a:txBody>
                  <a:tcPr anchor="ctr">
                    <a:solidFill>
                      <a:srgbClr val="003781"/>
                    </a:solidFill>
                  </a:tcPr>
                </a:tc>
                <a:tc>
                  <a:txBody>
                    <a:bodyPr/>
                    <a:lstStyle/>
                    <a:p>
                      <a:pPr algn="ctr"/>
                      <a:r>
                        <a:rPr lang="de-DE" sz="1400"/>
                        <a:t>Abkürzung</a:t>
                      </a:r>
                    </a:p>
                  </a:txBody>
                  <a:tcPr anchor="ctr">
                    <a:solidFill>
                      <a:srgbClr val="00378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a:t>Produktname</a:t>
                      </a:r>
                    </a:p>
                  </a:txBody>
                  <a:tcPr anchor="ctr">
                    <a:solidFill>
                      <a:srgbClr val="003781"/>
                    </a:solidFill>
                  </a:tcPr>
                </a:tc>
                <a:tc>
                  <a:txBody>
                    <a:bodyPr/>
                    <a:lstStyle/>
                    <a:p>
                      <a:pPr algn="ctr"/>
                      <a:r>
                        <a:rPr lang="de-DE" sz="1400"/>
                        <a:t>Abkürzung</a:t>
                      </a:r>
                    </a:p>
                  </a:txBody>
                  <a:tcPr anchor="ctr">
                    <a:solidFill>
                      <a:srgbClr val="003781"/>
                    </a:solidFill>
                  </a:tcPr>
                </a:tc>
                <a:extLst>
                  <a:ext uri="{0D108BD9-81ED-4DB2-BD59-A6C34878D82A}">
                    <a16:rowId xmlns:a16="http://schemas.microsoft.com/office/drawing/2014/main" val="1552313199"/>
                  </a:ext>
                </a:extLst>
              </a:tr>
              <a:tr h="303434">
                <a:tc>
                  <a:txBody>
                    <a:bodyPr/>
                    <a:lstStyle/>
                    <a:p>
                      <a:pPr algn="l" fontAlgn="b"/>
                      <a:r>
                        <a:rPr lang="de-DE" sz="1000" b="0" i="0" u="none" strike="noStrike">
                          <a:solidFill>
                            <a:srgbClr val="000000"/>
                          </a:solidFill>
                          <a:effectLst/>
                          <a:latin typeface="+mj-lt"/>
                        </a:rPr>
                        <a:t>SchatzBrief Klassik</a:t>
                      </a:r>
                    </a:p>
                  </a:txBody>
                  <a:tcPr marL="6350" marR="6350" marT="6350" marB="0" anchor="ctr">
                    <a:solidFill>
                      <a:schemeClr val="bg1">
                        <a:lumMod val="20000"/>
                        <a:lumOff val="80000"/>
                      </a:schemeClr>
                    </a:solidFill>
                  </a:tcPr>
                </a:tc>
                <a:tc>
                  <a:txBody>
                    <a:bodyPr/>
                    <a:lstStyle/>
                    <a:p>
                      <a:pPr algn="l" fontAlgn="b"/>
                      <a:r>
                        <a:rPr lang="de-DE" sz="1000" b="0" i="0" u="none" strike="noStrike">
                          <a:solidFill>
                            <a:srgbClr val="000000"/>
                          </a:solidFill>
                          <a:effectLst/>
                          <a:latin typeface="+mj-lt"/>
                        </a:rPr>
                        <a:t>SBr Klass</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rivatRente Klassik</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PR Klass</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VermögensPolice Klassik</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VPo Klass</a:t>
                      </a:r>
                    </a:p>
                  </a:txBody>
                  <a:tcPr marL="6350" marR="6350" marT="6350" marB="0" anchor="ctr">
                    <a:solidFill>
                      <a:srgbClr val="B5DAE6"/>
                    </a:solidFill>
                  </a:tcPr>
                </a:tc>
                <a:extLst>
                  <a:ext uri="{0D108BD9-81ED-4DB2-BD59-A6C34878D82A}">
                    <a16:rowId xmlns:a16="http://schemas.microsoft.com/office/drawing/2014/main" val="4223070499"/>
                  </a:ext>
                </a:extLst>
              </a:tr>
              <a:tr h="303434">
                <a:tc>
                  <a:txBody>
                    <a:bodyPr/>
                    <a:lstStyle/>
                    <a:p>
                      <a:pPr algn="l" fontAlgn="b"/>
                      <a:r>
                        <a:rPr lang="de-DE" sz="1000" b="0" i="0" u="none" strike="noStrike">
                          <a:solidFill>
                            <a:srgbClr val="000000"/>
                          </a:solidFill>
                          <a:effectLst/>
                          <a:latin typeface="+mj-lt"/>
                        </a:rPr>
                        <a:t>SchatzBrief IndexSelect</a:t>
                      </a:r>
                    </a:p>
                  </a:txBody>
                  <a:tcPr marL="6350" marR="6350" marT="6350" marB="0" anchor="ctr">
                    <a:solidFill>
                      <a:schemeClr val="bg1">
                        <a:lumMod val="20000"/>
                        <a:lumOff val="80000"/>
                      </a:schemeClr>
                    </a:solidFill>
                  </a:tcPr>
                </a:tc>
                <a:tc>
                  <a:txBody>
                    <a:bodyPr/>
                    <a:lstStyle/>
                    <a:p>
                      <a:pPr algn="l" fontAlgn="b"/>
                      <a:r>
                        <a:rPr lang="de-DE" sz="1000" b="0" i="0" u="none" strike="noStrike">
                          <a:solidFill>
                            <a:srgbClr val="000000"/>
                          </a:solidFill>
                          <a:effectLst/>
                          <a:latin typeface="+mj-lt"/>
                        </a:rPr>
                        <a:t>SBr IS</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rivatRente IndexSelect</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PR IS</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VermögensPolice IndexSelect</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VPo IS</a:t>
                      </a:r>
                    </a:p>
                  </a:txBody>
                  <a:tcPr marL="6350" marR="6350" marT="6350" marB="0" anchor="ctr">
                    <a:solidFill>
                      <a:srgbClr val="B5DAE6"/>
                    </a:solidFill>
                  </a:tcPr>
                </a:tc>
                <a:extLst>
                  <a:ext uri="{0D108BD9-81ED-4DB2-BD59-A6C34878D82A}">
                    <a16:rowId xmlns:a16="http://schemas.microsoft.com/office/drawing/2014/main" val="789187313"/>
                  </a:ext>
                </a:extLst>
              </a:tr>
              <a:tr h="303434">
                <a:tc>
                  <a:txBody>
                    <a:bodyPr/>
                    <a:lstStyle/>
                    <a:p>
                      <a:pPr algn="l" fontAlgn="b"/>
                      <a:r>
                        <a:rPr lang="de-DE" sz="1000" b="0" i="0" u="none" strike="noStrike">
                          <a:solidFill>
                            <a:srgbClr val="000000"/>
                          </a:solidFill>
                          <a:effectLst/>
                          <a:latin typeface="+mj-lt"/>
                        </a:rPr>
                        <a:t>SchatzBrief IndexSelectPlus</a:t>
                      </a:r>
                    </a:p>
                  </a:txBody>
                  <a:tcPr marL="6350" marR="6350" marT="6350" marB="0" anchor="ctr">
                    <a:solidFill>
                      <a:schemeClr val="bg1">
                        <a:lumMod val="20000"/>
                        <a:lumOff val="80000"/>
                      </a:schemeClr>
                    </a:solidFill>
                  </a:tcPr>
                </a:tc>
                <a:tc>
                  <a:txBody>
                    <a:bodyPr/>
                    <a:lstStyle/>
                    <a:p>
                      <a:pPr algn="l" fontAlgn="b"/>
                      <a:r>
                        <a:rPr lang="de-DE" sz="1000" b="0" i="0" u="none" strike="noStrike">
                          <a:solidFill>
                            <a:srgbClr val="000000"/>
                          </a:solidFill>
                          <a:effectLst/>
                          <a:latin typeface="+mj-lt"/>
                        </a:rPr>
                        <a:t>SBr ISP</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rivatRente IndexSelectPlus</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PR ISP</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VermögensPolice IndexSelectPlus</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VPo ISP</a:t>
                      </a:r>
                    </a:p>
                  </a:txBody>
                  <a:tcPr marL="6350" marR="6350" marT="6350" marB="0" anchor="ctr">
                    <a:solidFill>
                      <a:srgbClr val="B5DAE6"/>
                    </a:solidFill>
                  </a:tcPr>
                </a:tc>
                <a:extLst>
                  <a:ext uri="{0D108BD9-81ED-4DB2-BD59-A6C34878D82A}">
                    <a16:rowId xmlns:a16="http://schemas.microsoft.com/office/drawing/2014/main" val="370118528"/>
                  </a:ext>
                </a:extLst>
              </a:tr>
              <a:tr h="303434">
                <a:tc>
                  <a:txBody>
                    <a:bodyPr/>
                    <a:lstStyle/>
                    <a:p>
                      <a:pPr algn="l" fontAlgn="b"/>
                      <a:r>
                        <a:rPr lang="de-DE" sz="1000" b="0" i="0" u="none" strike="noStrike">
                          <a:solidFill>
                            <a:srgbClr val="000000"/>
                          </a:solidFill>
                          <a:effectLst/>
                          <a:latin typeface="+mj-lt"/>
                        </a:rPr>
                        <a:t>SchatzBrief Perspektive</a:t>
                      </a:r>
                    </a:p>
                  </a:txBody>
                  <a:tcPr marL="6350" marR="6350" marT="6350" marB="0" anchor="ctr">
                    <a:solidFill>
                      <a:schemeClr val="bg1">
                        <a:lumMod val="20000"/>
                        <a:lumOff val="80000"/>
                      </a:schemeClr>
                    </a:solidFill>
                  </a:tcPr>
                </a:tc>
                <a:tc>
                  <a:txBody>
                    <a:bodyPr/>
                    <a:lstStyle/>
                    <a:p>
                      <a:pPr algn="l" fontAlgn="b"/>
                      <a:r>
                        <a:rPr lang="de-DE" sz="1000" b="0" i="0" u="none" strike="noStrike">
                          <a:solidFill>
                            <a:srgbClr val="000000"/>
                          </a:solidFill>
                          <a:effectLst/>
                          <a:latin typeface="+mj-lt"/>
                        </a:rPr>
                        <a:t>SBr Persp</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rivatRente Perspektive</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PR Persp</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VermögensPolice</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VPo</a:t>
                      </a:r>
                    </a:p>
                  </a:txBody>
                  <a:tcPr marL="6350" marR="6350" marT="6350" marB="0" anchor="ctr">
                    <a:solidFill>
                      <a:srgbClr val="B5DAE6"/>
                    </a:solidFill>
                  </a:tcPr>
                </a:tc>
                <a:extLst>
                  <a:ext uri="{0D108BD9-81ED-4DB2-BD59-A6C34878D82A}">
                    <a16:rowId xmlns:a16="http://schemas.microsoft.com/office/drawing/2014/main" val="1283900218"/>
                  </a:ext>
                </a:extLst>
              </a:tr>
              <a:tr h="303434">
                <a:tc>
                  <a:txBody>
                    <a:bodyPr/>
                    <a:lstStyle/>
                    <a:p>
                      <a:pPr algn="l" fontAlgn="b"/>
                      <a:r>
                        <a:rPr lang="de-DE" sz="1000" b="0" i="0" u="none" strike="noStrike">
                          <a:solidFill>
                            <a:srgbClr val="000000"/>
                          </a:solidFill>
                          <a:effectLst/>
                          <a:latin typeface="+mj-lt"/>
                        </a:rPr>
                        <a:t>SchatzBrief KomfortDynamik</a:t>
                      </a:r>
                    </a:p>
                  </a:txBody>
                  <a:tcPr marL="6350" marR="6350" marT="6350" marB="0" anchor="ctr">
                    <a:solidFill>
                      <a:schemeClr val="bg1">
                        <a:lumMod val="20000"/>
                        <a:lumOff val="80000"/>
                      </a:schemeClr>
                    </a:solidFill>
                  </a:tcPr>
                </a:tc>
                <a:tc>
                  <a:txBody>
                    <a:bodyPr/>
                    <a:lstStyle/>
                    <a:p>
                      <a:pPr algn="l" fontAlgn="b"/>
                      <a:r>
                        <a:rPr lang="de-DE" sz="1000" b="0" i="0" u="none" strike="noStrike">
                          <a:solidFill>
                            <a:srgbClr val="000000"/>
                          </a:solidFill>
                          <a:effectLst/>
                          <a:latin typeface="+mj-lt"/>
                        </a:rPr>
                        <a:t>SBr KD</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rivatRente KomfortDynamik</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PR KD</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VermögensPolice Invest</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VPo Inv</a:t>
                      </a:r>
                    </a:p>
                  </a:txBody>
                  <a:tcPr marL="6350" marR="6350" marT="6350" marB="0" anchor="ctr">
                    <a:solidFill>
                      <a:srgbClr val="B5DAE6"/>
                    </a:solidFill>
                  </a:tcPr>
                </a:tc>
                <a:extLst>
                  <a:ext uri="{0D108BD9-81ED-4DB2-BD59-A6C34878D82A}">
                    <a16:rowId xmlns:a16="http://schemas.microsoft.com/office/drawing/2014/main" val="1518692784"/>
                  </a:ext>
                </a:extLst>
              </a:tr>
              <a:tr h="303434">
                <a:tc>
                  <a:txBody>
                    <a:bodyPr/>
                    <a:lstStyle/>
                    <a:p>
                      <a:pPr algn="l" fontAlgn="b"/>
                      <a:r>
                        <a:rPr lang="de-DE" sz="1000" b="0" i="0" u="none" strike="noStrike">
                          <a:solidFill>
                            <a:srgbClr val="000000"/>
                          </a:solidFill>
                          <a:effectLst/>
                          <a:latin typeface="+mj-lt"/>
                        </a:rPr>
                        <a:t>SchatzBrief Invest</a:t>
                      </a:r>
                    </a:p>
                  </a:txBody>
                  <a:tcPr marL="6350" marR="6350" marT="6350" marB="0" anchor="ctr">
                    <a:solidFill>
                      <a:schemeClr val="bg1">
                        <a:lumMod val="20000"/>
                        <a:lumOff val="80000"/>
                      </a:schemeClr>
                    </a:solidFill>
                  </a:tcPr>
                </a:tc>
                <a:tc>
                  <a:txBody>
                    <a:bodyPr/>
                    <a:lstStyle/>
                    <a:p>
                      <a:pPr algn="l" fontAlgn="b"/>
                      <a:r>
                        <a:rPr lang="de-DE" sz="1000" b="0" i="0" u="none" strike="noStrike">
                          <a:solidFill>
                            <a:srgbClr val="000000"/>
                          </a:solidFill>
                          <a:effectLst/>
                          <a:latin typeface="+mj-lt"/>
                        </a:rPr>
                        <a:t>SBr Inv</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rivatRente InvestFlex</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PR InvF</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VermögensPolice InvestGreen</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VPo InvG</a:t>
                      </a:r>
                    </a:p>
                  </a:txBody>
                  <a:tcPr marL="6350" marR="6350" marT="6350" marB="0" anchor="ctr">
                    <a:solidFill>
                      <a:srgbClr val="B5DAE6"/>
                    </a:solidFill>
                  </a:tcPr>
                </a:tc>
                <a:extLst>
                  <a:ext uri="{0D108BD9-81ED-4DB2-BD59-A6C34878D82A}">
                    <a16:rowId xmlns:a16="http://schemas.microsoft.com/office/drawing/2014/main" val="2347033487"/>
                  </a:ext>
                </a:extLst>
              </a:tr>
              <a:tr h="303434">
                <a:tc>
                  <a:txBody>
                    <a:bodyPr/>
                    <a:lstStyle/>
                    <a:p>
                      <a:pPr algn="l" fontAlgn="b"/>
                      <a:r>
                        <a:rPr lang="de-DE" sz="1000" b="0" i="0" u="none" strike="noStrike">
                          <a:solidFill>
                            <a:srgbClr val="000000"/>
                          </a:solidFill>
                          <a:effectLst/>
                          <a:latin typeface="+mj-lt"/>
                        </a:rPr>
                        <a:t>SchatzBrief </a:t>
                      </a:r>
                      <a:r>
                        <a:rPr lang="de-DE" sz="1000" b="0" i="0" u="none" strike="noStrike" err="1">
                          <a:solidFill>
                            <a:srgbClr val="000000"/>
                          </a:solidFill>
                          <a:effectLst/>
                          <a:latin typeface="+mj-lt"/>
                        </a:rPr>
                        <a:t>Investalpha</a:t>
                      </a:r>
                      <a:r>
                        <a:rPr lang="de-DE" sz="1000" b="0" i="0" u="none" strike="noStrike">
                          <a:solidFill>
                            <a:srgbClr val="000000"/>
                          </a:solidFill>
                          <a:effectLst/>
                          <a:latin typeface="+mj-lt"/>
                        </a:rPr>
                        <a:t>-Balance</a:t>
                      </a:r>
                    </a:p>
                  </a:txBody>
                  <a:tcPr marL="6350" marR="6350" marT="6350" marB="0" anchor="ctr">
                    <a:solidFill>
                      <a:schemeClr val="bg1">
                        <a:lumMod val="20000"/>
                        <a:lumOff val="80000"/>
                      </a:schemeClr>
                    </a:solidFill>
                  </a:tcPr>
                </a:tc>
                <a:tc>
                  <a:txBody>
                    <a:bodyPr/>
                    <a:lstStyle/>
                    <a:p>
                      <a:pPr algn="l" fontAlgn="b"/>
                      <a:r>
                        <a:rPr lang="de-DE" sz="1000" b="0" i="0" u="none" strike="noStrike">
                          <a:solidFill>
                            <a:srgbClr val="000000"/>
                          </a:solidFill>
                          <a:effectLst/>
                          <a:latin typeface="+mj-lt"/>
                        </a:rPr>
                        <a:t>SBr InvAB</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rivatRente InvestFlexGreen</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PR InvFG</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rivateFinancePolice</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PFP</a:t>
                      </a:r>
                    </a:p>
                  </a:txBody>
                  <a:tcPr marL="6350" marR="6350" marT="6350" marB="0" anchor="ctr">
                    <a:solidFill>
                      <a:srgbClr val="B5DAE6"/>
                    </a:solidFill>
                  </a:tcPr>
                </a:tc>
                <a:extLst>
                  <a:ext uri="{0D108BD9-81ED-4DB2-BD59-A6C34878D82A}">
                    <a16:rowId xmlns:a16="http://schemas.microsoft.com/office/drawing/2014/main" val="3864027915"/>
                  </a:ext>
                </a:extLst>
              </a:tr>
              <a:tr h="303434">
                <a:tc>
                  <a:txBody>
                    <a:bodyPr/>
                    <a:lstStyle/>
                    <a:p>
                      <a:pPr algn="l" fontAlgn="b"/>
                      <a:r>
                        <a:rPr lang="de-DE" sz="1000" b="0" i="0" u="none" strike="noStrike">
                          <a:solidFill>
                            <a:srgbClr val="000000"/>
                          </a:solidFill>
                          <a:effectLst/>
                          <a:latin typeface="+mj-lt"/>
                        </a:rPr>
                        <a:t>SchatzBrief InvestFlex</a:t>
                      </a:r>
                    </a:p>
                  </a:txBody>
                  <a:tcPr marL="6350" marR="6350" marT="6350" marB="0" anchor="ctr">
                    <a:solidFill>
                      <a:schemeClr val="bg1">
                        <a:lumMod val="20000"/>
                        <a:lumOff val="80000"/>
                      </a:schemeClr>
                    </a:solidFill>
                  </a:tcPr>
                </a:tc>
                <a:tc>
                  <a:txBody>
                    <a:bodyPr/>
                    <a:lstStyle/>
                    <a:p>
                      <a:pPr algn="l" fontAlgn="b"/>
                      <a:r>
                        <a:rPr lang="de-DE" sz="1000" b="0" i="0" u="none" strike="noStrike">
                          <a:solidFill>
                            <a:srgbClr val="000000"/>
                          </a:solidFill>
                          <a:effectLst/>
                          <a:latin typeface="+mj-lt"/>
                        </a:rPr>
                        <a:t>SBr InvF</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rivatRente Invest</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PR Inv</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arkDepot</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APD</a:t>
                      </a:r>
                    </a:p>
                  </a:txBody>
                  <a:tcPr marL="6350" marR="6350" marT="6350" marB="0" anchor="ctr">
                    <a:solidFill>
                      <a:srgbClr val="B5DAE6"/>
                    </a:solidFill>
                  </a:tcPr>
                </a:tc>
                <a:extLst>
                  <a:ext uri="{0D108BD9-81ED-4DB2-BD59-A6C34878D82A}">
                    <a16:rowId xmlns:a16="http://schemas.microsoft.com/office/drawing/2014/main" val="1944829263"/>
                  </a:ext>
                </a:extLst>
              </a:tr>
              <a:tr h="303434">
                <a:tc>
                  <a:txBody>
                    <a:bodyPr/>
                    <a:lstStyle/>
                    <a:p>
                      <a:pPr algn="l" fontAlgn="b"/>
                      <a:r>
                        <a:rPr lang="de-DE" sz="1000" b="0" i="0" u="none" strike="noStrike">
                          <a:solidFill>
                            <a:srgbClr val="000000"/>
                          </a:solidFill>
                          <a:effectLst/>
                          <a:latin typeface="+mj-lt"/>
                        </a:rPr>
                        <a:t>SchatzBrief InvestFlexGreen</a:t>
                      </a:r>
                    </a:p>
                  </a:txBody>
                  <a:tcPr marL="6350" marR="6350" marT="6350" marB="0" anchor="ctr">
                    <a:solidFill>
                      <a:schemeClr val="bg1">
                        <a:lumMod val="20000"/>
                        <a:lumOff val="80000"/>
                      </a:schemeClr>
                    </a:solidFill>
                  </a:tcPr>
                </a:tc>
                <a:tc>
                  <a:txBody>
                    <a:bodyPr/>
                    <a:lstStyle/>
                    <a:p>
                      <a:pPr algn="l" fontAlgn="b"/>
                      <a:r>
                        <a:rPr lang="de-DE" sz="1000" b="0" i="0" u="none" strike="noStrike">
                          <a:solidFill>
                            <a:srgbClr val="000000"/>
                          </a:solidFill>
                          <a:effectLst/>
                          <a:latin typeface="+mj-lt"/>
                        </a:rPr>
                        <a:t>SBr InvFG</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rivatRente Investalpha-Balance</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PR InvAB</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arkDepot Wiederanlage</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APDW</a:t>
                      </a:r>
                    </a:p>
                  </a:txBody>
                  <a:tcPr marL="6350" marR="6350" marT="6350" marB="0" anchor="ctr">
                    <a:solidFill>
                      <a:srgbClr val="B5DAE6"/>
                    </a:solidFill>
                  </a:tcPr>
                </a:tc>
                <a:extLst>
                  <a:ext uri="{0D108BD9-81ED-4DB2-BD59-A6C34878D82A}">
                    <a16:rowId xmlns:a16="http://schemas.microsoft.com/office/drawing/2014/main" val="599349400"/>
                  </a:ext>
                </a:extLst>
              </a:tr>
              <a:tr h="303434">
                <a:tc>
                  <a:txBody>
                    <a:bodyPr/>
                    <a:lstStyle/>
                    <a:p>
                      <a:pPr algn="l" fontAlgn="b"/>
                      <a:r>
                        <a:rPr lang="de-DE" sz="1000" b="0" i="0" u="none" strike="noStrike">
                          <a:solidFill>
                            <a:srgbClr val="000000"/>
                          </a:solidFill>
                          <a:effectLst/>
                          <a:latin typeface="+mj-lt"/>
                        </a:rPr>
                        <a:t>SchatzBrief InvestGarantie</a:t>
                      </a:r>
                    </a:p>
                  </a:txBody>
                  <a:tcPr marL="6350" marR="6350" marT="6350" marB="0" anchor="ctr">
                    <a:solidFill>
                      <a:schemeClr val="bg1">
                        <a:lumMod val="20000"/>
                        <a:lumOff val="80000"/>
                      </a:schemeClr>
                    </a:solidFill>
                  </a:tcPr>
                </a:tc>
                <a:tc>
                  <a:txBody>
                    <a:bodyPr/>
                    <a:lstStyle/>
                    <a:p>
                      <a:pPr algn="l" fontAlgn="b"/>
                      <a:r>
                        <a:rPr lang="de-DE" sz="1000" b="0" i="0" u="none" strike="noStrike">
                          <a:solidFill>
                            <a:srgbClr val="000000"/>
                          </a:solidFill>
                          <a:effectLst/>
                          <a:latin typeface="+mj-lt"/>
                        </a:rPr>
                        <a:t>SBr InvGar</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rivatRente</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PR</a:t>
                      </a:r>
                    </a:p>
                  </a:txBody>
                  <a:tcPr marL="6350" marR="6350" marT="6350" marB="0" anchor="ctr">
                    <a:solidFill>
                      <a:srgbClr val="B5DAE6"/>
                    </a:solidFill>
                  </a:tcPr>
                </a:tc>
                <a:tc>
                  <a:txBody>
                    <a:bodyPr/>
                    <a:lstStyle/>
                    <a:p>
                      <a:endParaRPr lang="de-DE" sz="1000">
                        <a:latin typeface="+mj-lt"/>
                      </a:endParaRPr>
                    </a:p>
                  </a:txBody>
                  <a:tcPr anchor="ctr">
                    <a:solidFill>
                      <a:srgbClr val="C0D0FF"/>
                    </a:solidFill>
                  </a:tcPr>
                </a:tc>
                <a:tc>
                  <a:txBody>
                    <a:bodyPr/>
                    <a:lstStyle/>
                    <a:p>
                      <a:endParaRPr lang="de-DE" sz="1000">
                        <a:latin typeface="+mj-lt"/>
                      </a:endParaRPr>
                    </a:p>
                  </a:txBody>
                  <a:tcPr anchor="ctr">
                    <a:solidFill>
                      <a:srgbClr val="B5DAE6"/>
                    </a:solidFill>
                  </a:tcPr>
                </a:tc>
                <a:extLst>
                  <a:ext uri="{0D108BD9-81ED-4DB2-BD59-A6C34878D82A}">
                    <a16:rowId xmlns:a16="http://schemas.microsoft.com/office/drawing/2014/main" val="781433713"/>
                  </a:ext>
                </a:extLst>
              </a:tr>
              <a:tr h="303434">
                <a:tc>
                  <a:txBody>
                    <a:bodyPr/>
                    <a:lstStyle/>
                    <a:p>
                      <a:pPr algn="l" fontAlgn="b"/>
                      <a:r>
                        <a:rPr lang="de-DE" sz="1000" b="0" i="0" u="none" strike="noStrike">
                          <a:solidFill>
                            <a:srgbClr val="000000"/>
                          </a:solidFill>
                          <a:effectLst/>
                          <a:latin typeface="+mj-lt"/>
                        </a:rPr>
                        <a:t>SchatzBrief AktivDepot</a:t>
                      </a:r>
                    </a:p>
                  </a:txBody>
                  <a:tcPr marL="6350" marR="6350" marT="6350" marB="0" anchor="ctr">
                    <a:solidFill>
                      <a:schemeClr val="bg1">
                        <a:lumMod val="20000"/>
                        <a:lumOff val="80000"/>
                      </a:schemeClr>
                    </a:solidFill>
                  </a:tcPr>
                </a:tc>
                <a:tc>
                  <a:txBody>
                    <a:bodyPr/>
                    <a:lstStyle/>
                    <a:p>
                      <a:pPr algn="l" fontAlgn="b"/>
                      <a:r>
                        <a:rPr lang="de-DE" sz="1000" b="0" i="0" u="none" strike="noStrike">
                          <a:solidFill>
                            <a:srgbClr val="000000"/>
                          </a:solidFill>
                          <a:effectLst/>
                          <a:latin typeface="+mj-lt"/>
                        </a:rPr>
                        <a:t>SBr AD</a:t>
                      </a:r>
                    </a:p>
                  </a:txBody>
                  <a:tcPr marL="6350" marR="6350" marT="6350" marB="0" anchor="ctr">
                    <a:solidFill>
                      <a:srgbClr val="B5DAE6"/>
                    </a:solidFill>
                  </a:tcPr>
                </a:tc>
                <a:tc>
                  <a:txBody>
                    <a:bodyPr/>
                    <a:lstStyle/>
                    <a:p>
                      <a:pPr algn="l" fontAlgn="b"/>
                      <a:r>
                        <a:rPr lang="de-DE" sz="1000" b="0" i="0" u="none" strike="noStrike">
                          <a:solidFill>
                            <a:srgbClr val="000000"/>
                          </a:solidFill>
                          <a:effectLst/>
                          <a:latin typeface="+mj-lt"/>
                        </a:rPr>
                        <a:t>PrivatRente InvestGarantie</a:t>
                      </a:r>
                    </a:p>
                  </a:txBody>
                  <a:tcPr marL="6350" marR="6350" marT="6350" marB="0" anchor="ctr">
                    <a:solidFill>
                      <a:srgbClr val="C0D0FF"/>
                    </a:solidFill>
                  </a:tcPr>
                </a:tc>
                <a:tc>
                  <a:txBody>
                    <a:bodyPr/>
                    <a:lstStyle/>
                    <a:p>
                      <a:pPr algn="l" fontAlgn="b"/>
                      <a:r>
                        <a:rPr lang="de-DE" sz="1000" b="0" i="0" u="none" strike="noStrike">
                          <a:solidFill>
                            <a:srgbClr val="000000"/>
                          </a:solidFill>
                          <a:effectLst/>
                          <a:latin typeface="+mj-lt"/>
                        </a:rPr>
                        <a:t>PR InvGar</a:t>
                      </a:r>
                    </a:p>
                  </a:txBody>
                  <a:tcPr marL="6350" marR="6350" marT="6350" marB="0" anchor="ctr">
                    <a:solidFill>
                      <a:srgbClr val="B5DAE6"/>
                    </a:solidFill>
                  </a:tcPr>
                </a:tc>
                <a:tc>
                  <a:txBody>
                    <a:bodyPr/>
                    <a:lstStyle/>
                    <a:p>
                      <a:endParaRPr lang="de-DE" sz="1000">
                        <a:latin typeface="+mj-lt"/>
                      </a:endParaRPr>
                    </a:p>
                  </a:txBody>
                  <a:tcPr anchor="ctr">
                    <a:solidFill>
                      <a:srgbClr val="C0D0FF"/>
                    </a:solidFill>
                  </a:tcPr>
                </a:tc>
                <a:tc>
                  <a:txBody>
                    <a:bodyPr/>
                    <a:lstStyle/>
                    <a:p>
                      <a:endParaRPr lang="de-DE" sz="1000">
                        <a:latin typeface="+mj-lt"/>
                      </a:endParaRPr>
                    </a:p>
                  </a:txBody>
                  <a:tcPr anchor="ctr">
                    <a:solidFill>
                      <a:srgbClr val="B5DAE6"/>
                    </a:solidFill>
                  </a:tcPr>
                </a:tc>
                <a:extLst>
                  <a:ext uri="{0D108BD9-81ED-4DB2-BD59-A6C34878D82A}">
                    <a16:rowId xmlns:a16="http://schemas.microsoft.com/office/drawing/2014/main" val="2790634478"/>
                  </a:ext>
                </a:extLst>
              </a:tr>
            </a:tbl>
          </a:graphicData>
        </a:graphic>
      </p:graphicFrame>
    </p:spTree>
    <p:extLst>
      <p:ext uri="{BB962C8B-B14F-4D97-AF65-F5344CB8AC3E}">
        <p14:creationId xmlns:p14="http://schemas.microsoft.com/office/powerpoint/2010/main" val="38384294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5DEEBD86-309B-C14E-B0A9-C44A529AEA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2080" y="-1"/>
            <a:ext cx="8766237" cy="6480175"/>
          </a:xfrm>
          <a:prstGeom prst="rect">
            <a:avLst/>
          </a:prstGeom>
        </p:spPr>
      </p:pic>
      <p:sp>
        <p:nvSpPr>
          <p:cNvPr id="2" name="Title 1"/>
          <p:cNvSpPr>
            <a:spLocks noGrp="1"/>
          </p:cNvSpPr>
          <p:nvPr>
            <p:ph type="title"/>
          </p:nvPr>
        </p:nvSpPr>
        <p:spPr/>
        <p:txBody>
          <a:bodyPr/>
          <a:lstStyle/>
          <a:p>
            <a:r>
              <a:rPr lang="de-DE" sz="4800"/>
              <a:t>So punkten Sie </a:t>
            </a:r>
            <a:br>
              <a:rPr lang="de-DE" sz="4800"/>
            </a:br>
            <a:r>
              <a:rPr lang="de-DE" sz="4800">
                <a:solidFill>
                  <a:srgbClr val="13A0D3"/>
                </a:solidFill>
              </a:rPr>
              <a:t>im Kundengespräch</a:t>
            </a:r>
          </a:p>
        </p:txBody>
      </p:sp>
      <p:sp>
        <p:nvSpPr>
          <p:cNvPr id="7" name="Inhaltsplatzhalter 6"/>
          <p:cNvSpPr>
            <a:spLocks noGrp="1"/>
          </p:cNvSpPr>
          <p:nvPr>
            <p:ph idx="1"/>
          </p:nvPr>
        </p:nvSpPr>
        <p:spPr>
          <a:ln>
            <a:noFill/>
          </a:ln>
        </p:spPr>
        <p:txBody>
          <a:bodyPr/>
          <a:lstStyle/>
          <a:p>
            <a:r>
              <a:rPr lang="de-DE"/>
              <a:t>Schon im Gesprächseinstieg erzielen Sie Aufmerksamkeit:</a:t>
            </a:r>
            <a:endParaRPr lang="de-DE" b="1"/>
          </a:p>
          <a:p>
            <a:endParaRPr lang="de-DE"/>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12</a:t>
            </a:fld>
            <a:endParaRPr kumimoji="0" lang="en-GB"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38" name="Abgerundete rechteckige Legende 37">
            <a:extLst>
              <a:ext uri="{FF2B5EF4-FFF2-40B4-BE49-F238E27FC236}">
                <a16:creationId xmlns:a16="http://schemas.microsoft.com/office/drawing/2014/main" id="{325BA4CD-950E-C042-B8CA-0EFC4D2B2A88}"/>
              </a:ext>
            </a:extLst>
          </p:cNvPr>
          <p:cNvSpPr/>
          <p:nvPr/>
        </p:nvSpPr>
        <p:spPr>
          <a:xfrm>
            <a:off x="760496" y="2760486"/>
            <a:ext cx="1764581" cy="1546041"/>
          </a:xfrm>
          <a:prstGeom prst="wedgeRoundRectCallout">
            <a:avLst>
              <a:gd name="adj1" fmla="val -20353"/>
              <a:gd name="adj2" fmla="val 70003"/>
              <a:gd name="adj3" fmla="val 16667"/>
            </a:avLst>
          </a:prstGeom>
          <a:solidFill>
            <a:srgbClr val="C0D0FF">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a:ln>
                <a:noFill/>
              </a:ln>
              <a:solidFill>
                <a:srgbClr val="FFFFFF"/>
              </a:solidFill>
              <a:effectLst/>
              <a:uLnTx/>
              <a:uFillTx/>
              <a:latin typeface="Allianz Neo PPT"/>
              <a:ea typeface="+mn-ea"/>
              <a:cs typeface="+mn-cs"/>
            </a:endParaRPr>
          </a:p>
        </p:txBody>
      </p:sp>
      <p:sp>
        <p:nvSpPr>
          <p:cNvPr id="42" name="Abgerundete rechteckige Legende 41">
            <a:extLst>
              <a:ext uri="{FF2B5EF4-FFF2-40B4-BE49-F238E27FC236}">
                <a16:creationId xmlns:a16="http://schemas.microsoft.com/office/drawing/2014/main" id="{651D1121-6807-B648-86E6-6308145184AA}"/>
              </a:ext>
            </a:extLst>
          </p:cNvPr>
          <p:cNvSpPr/>
          <p:nvPr/>
        </p:nvSpPr>
        <p:spPr>
          <a:xfrm flipH="1">
            <a:off x="3261367" y="2785733"/>
            <a:ext cx="2045327" cy="1043391"/>
          </a:xfrm>
          <a:prstGeom prst="wedgeRoundRectCallout">
            <a:avLst>
              <a:gd name="adj1" fmla="val -20700"/>
              <a:gd name="adj2" fmla="val 71217"/>
              <a:gd name="adj3" fmla="val 16667"/>
            </a:avLst>
          </a:prstGeom>
          <a:solidFill>
            <a:srgbClr val="C0D0FF">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337436" marR="0" lvl="0" indent="0" algn="l" defTabSz="864017"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FFFFFF"/>
              </a:solidFill>
              <a:effectLst/>
              <a:uLnTx/>
              <a:uFillTx/>
              <a:latin typeface="Allianz Neo PPT"/>
              <a:ea typeface="+mn-ea"/>
              <a:cs typeface="+mn-cs"/>
            </a:endParaRPr>
          </a:p>
        </p:txBody>
      </p:sp>
      <p:sp>
        <p:nvSpPr>
          <p:cNvPr id="33" name="Freeform 54">
            <a:extLst>
              <a:ext uri="{FF2B5EF4-FFF2-40B4-BE49-F238E27FC236}">
                <a16:creationId xmlns:a16="http://schemas.microsoft.com/office/drawing/2014/main" id="{BF82D8A7-9B2A-AA44-90DF-04ECA408B420}"/>
              </a:ext>
            </a:extLst>
          </p:cNvPr>
          <p:cNvSpPr>
            <a:spLocks noEditPoints="1"/>
          </p:cNvSpPr>
          <p:nvPr/>
        </p:nvSpPr>
        <p:spPr bwMode="auto">
          <a:xfrm>
            <a:off x="10758684" y="246288"/>
            <a:ext cx="29179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4" tIns="57586" rIns="115174" bIns="57586" numCol="1" anchor="t" anchorCtr="0" compatLnSpc="1">
            <a:prstTxWarp prst="textNoShape">
              <a:avLst/>
            </a:prstTxWarp>
          </a:bodyPr>
          <a:lstStyle/>
          <a:p>
            <a:pPr marL="0" marR="0" lvl="0" indent="0" algn="l" defTabSz="1151750" rtl="0"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a:ln>
                <a:noFill/>
              </a:ln>
              <a:solidFill>
                <a:srgbClr val="003781"/>
              </a:solidFill>
              <a:effectLst/>
              <a:uLnTx/>
              <a:uFillTx/>
              <a:latin typeface="Allianz Neo PPT"/>
              <a:ea typeface="+mn-ea"/>
              <a:cs typeface="+mn-cs"/>
            </a:endParaRPr>
          </a:p>
        </p:txBody>
      </p:sp>
      <p:sp>
        <p:nvSpPr>
          <p:cNvPr id="44" name="Abgerundete rechteckige Legende 43">
            <a:extLst>
              <a:ext uri="{FF2B5EF4-FFF2-40B4-BE49-F238E27FC236}">
                <a16:creationId xmlns:a16="http://schemas.microsoft.com/office/drawing/2014/main" id="{3DA75D61-6910-4C40-B171-51547BA6FC28}"/>
              </a:ext>
            </a:extLst>
          </p:cNvPr>
          <p:cNvSpPr/>
          <p:nvPr/>
        </p:nvSpPr>
        <p:spPr>
          <a:xfrm flipH="1" flipV="1">
            <a:off x="1967516" y="4465380"/>
            <a:ext cx="2489342" cy="1146123"/>
          </a:xfrm>
          <a:prstGeom prst="wedgeRoundRectCallout">
            <a:avLst>
              <a:gd name="adj1" fmla="val -20380"/>
              <a:gd name="adj2" fmla="val 69562"/>
              <a:gd name="adj3" fmla="val 16667"/>
            </a:avLst>
          </a:prstGeom>
          <a:solidFill>
            <a:srgbClr val="C0D0FF">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337436" marR="0" lvl="0" indent="0" algn="l" defTabSz="864017" rtl="0" eaLnBrk="1" fontAlgn="auto" latinLnBrk="0" hangingPunct="1">
              <a:lnSpc>
                <a:spcPct val="100000"/>
              </a:lnSpc>
              <a:spcBef>
                <a:spcPts val="0"/>
              </a:spcBef>
              <a:spcAft>
                <a:spcPts val="0"/>
              </a:spcAft>
              <a:buClrTx/>
              <a:buSzTx/>
              <a:buFontTx/>
              <a:buNone/>
              <a:tabLst/>
              <a:defRPr/>
            </a:pPr>
            <a:endParaRPr kumimoji="0" lang="de-DE" sz="1323" b="0" i="0" u="none" strike="noStrike" kern="1200" cap="none" spc="0" normalizeH="0" baseline="0" noProof="0">
              <a:ln>
                <a:noFill/>
              </a:ln>
              <a:solidFill>
                <a:srgbClr val="FFFFFF"/>
              </a:solidFill>
              <a:effectLst/>
              <a:uLnTx/>
              <a:uFillTx/>
              <a:latin typeface="Allianz Neo PPT"/>
              <a:ea typeface="+mn-ea"/>
              <a:cs typeface="+mn-cs"/>
            </a:endParaRPr>
          </a:p>
        </p:txBody>
      </p:sp>
      <p:sp>
        <p:nvSpPr>
          <p:cNvPr id="46" name="Abgerundete rechteckige Legende 45">
            <a:extLst>
              <a:ext uri="{FF2B5EF4-FFF2-40B4-BE49-F238E27FC236}">
                <a16:creationId xmlns:a16="http://schemas.microsoft.com/office/drawing/2014/main" id="{C97D348C-272A-F44F-8DFA-4BC763F74E44}"/>
              </a:ext>
            </a:extLst>
          </p:cNvPr>
          <p:cNvSpPr/>
          <p:nvPr/>
        </p:nvSpPr>
        <p:spPr>
          <a:xfrm flipH="1" flipV="1">
            <a:off x="5034579" y="4123645"/>
            <a:ext cx="2055556" cy="1487857"/>
          </a:xfrm>
          <a:prstGeom prst="wedgeRoundRectCallout">
            <a:avLst>
              <a:gd name="adj1" fmla="val -21235"/>
              <a:gd name="adj2" fmla="val 69393"/>
              <a:gd name="adj3" fmla="val 16667"/>
            </a:avLst>
          </a:prstGeom>
          <a:solidFill>
            <a:srgbClr val="C0D0FF">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a:ln>
                <a:noFill/>
              </a:ln>
              <a:solidFill>
                <a:srgbClr val="FFFFFF"/>
              </a:solidFill>
              <a:effectLst/>
              <a:uLnTx/>
              <a:uFillTx/>
              <a:latin typeface="Allianz Neo PPT"/>
              <a:ea typeface="+mn-ea"/>
              <a:cs typeface="+mn-cs"/>
            </a:endParaRPr>
          </a:p>
        </p:txBody>
      </p:sp>
      <p:sp>
        <p:nvSpPr>
          <p:cNvPr id="55"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4</a:t>
            </a:r>
          </a:p>
        </p:txBody>
      </p:sp>
      <p:sp>
        <p:nvSpPr>
          <p:cNvPr id="57"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a:ln>
                  <a:noFill/>
                </a:ln>
                <a:solidFill>
                  <a:srgbClr val="003781"/>
                </a:solidFill>
                <a:effectLst/>
                <a:uLnTx/>
                <a:uFillTx/>
                <a:latin typeface="Allianz Neo PPT"/>
                <a:ea typeface="+mn-ea"/>
                <a:cs typeface="+mn-cs"/>
              </a:rPr>
              <a:t>Allianz Kunde und Markt - Multikanalmarketing</a:t>
            </a:r>
          </a:p>
        </p:txBody>
      </p:sp>
      <p:sp>
        <p:nvSpPr>
          <p:cNvPr id="8" name="Textfeld 7"/>
          <p:cNvSpPr txBox="1"/>
          <p:nvPr/>
        </p:nvSpPr>
        <p:spPr>
          <a:xfrm>
            <a:off x="6677247" y="4778585"/>
            <a:ext cx="1513020" cy="874503"/>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endParaRPr kumimoji="0" lang="de-DE" sz="1510" b="1" i="0" u="none" strike="noStrike" kern="1200" cap="none" spc="100" normalizeH="0" baseline="0" noProof="0">
              <a:ln>
                <a:noFill/>
              </a:ln>
              <a:solidFill>
                <a:srgbClr val="13A0D3"/>
              </a:solidFill>
              <a:effectLst/>
              <a:uLnTx/>
              <a:uFillTx/>
              <a:latin typeface="Allianz Neo PPT"/>
              <a:ea typeface="+mn-ea"/>
              <a:cs typeface="+mn-cs"/>
            </a:endParaRPr>
          </a:p>
        </p:txBody>
      </p:sp>
      <p:sp>
        <p:nvSpPr>
          <p:cNvPr id="12" name="Textfeld 11"/>
          <p:cNvSpPr txBox="1"/>
          <p:nvPr/>
        </p:nvSpPr>
        <p:spPr>
          <a:xfrm>
            <a:off x="856079" y="2798565"/>
            <a:ext cx="1521930" cy="1477328"/>
          </a:xfrm>
          <a:prstGeom prst="rect">
            <a:avLst/>
          </a:prstGeom>
        </p:spPr>
        <p:txBody>
          <a:bodyPr wrap="square" lIns="0" tIns="0" rIns="0" bIns="0" rtlCol="0">
            <a:spAutoFit/>
          </a:bodyPr>
          <a:lstStyle/>
          <a:p>
            <a:pPr marL="0" marR="0" lvl="0" indent="0" algn="ctr" defTabSz="115175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3781"/>
                </a:solidFill>
                <a:effectLst/>
                <a:uLnTx/>
                <a:uFillTx/>
                <a:latin typeface="Allianz Neo PPT"/>
                <a:ea typeface="+mn-ea"/>
                <a:cs typeface="+mn-cs"/>
              </a:rPr>
              <a:t>Mit den</a:t>
            </a:r>
            <a:r>
              <a:rPr kumimoji="0" lang="de-DE" sz="1200" b="0" i="0" u="none" strike="noStrike" kern="1200" cap="none" spc="0" normalizeH="0" noProof="0">
                <a:ln>
                  <a:noFill/>
                </a:ln>
                <a:solidFill>
                  <a:srgbClr val="003781"/>
                </a:solidFill>
                <a:effectLst/>
                <a:uLnTx/>
                <a:uFillTx/>
                <a:latin typeface="Allianz Neo PPT"/>
                <a:ea typeface="+mn-ea"/>
                <a:cs typeface="+mn-cs"/>
              </a:rPr>
              <a:t> Vermögensprodukten der Allianz </a:t>
            </a:r>
            <a:r>
              <a:rPr kumimoji="0" lang="de-DE" sz="1200" b="0" i="0" u="none" strike="noStrike" kern="1200" cap="none" spc="0" normalizeH="0" baseline="0" noProof="0">
                <a:ln>
                  <a:noFill/>
                </a:ln>
                <a:solidFill>
                  <a:srgbClr val="003781"/>
                </a:solidFill>
                <a:effectLst/>
                <a:uLnTx/>
                <a:uFillTx/>
                <a:latin typeface="Allianz Neo PPT"/>
                <a:ea typeface="+mn-ea"/>
                <a:cs typeface="+mn-cs"/>
              </a:rPr>
              <a:t>können Sie Ihre </a:t>
            </a:r>
            <a:r>
              <a:rPr kumimoji="0" lang="de-DE" sz="1200" b="1" i="0" u="none" strike="noStrike" kern="1200" cap="none" spc="0" normalizeH="0" baseline="0" noProof="0">
                <a:ln>
                  <a:noFill/>
                </a:ln>
                <a:solidFill>
                  <a:srgbClr val="003781"/>
                </a:solidFill>
                <a:effectLst/>
                <a:uLnTx/>
                <a:uFillTx/>
                <a:latin typeface="Allianz Neo PPT"/>
                <a:ea typeface="+mn-ea"/>
                <a:cs typeface="+mn-cs"/>
              </a:rPr>
              <a:t>Anlageausrichtung individuell wählen </a:t>
            </a:r>
            <a:r>
              <a:rPr kumimoji="0" lang="de-DE" sz="1200" b="0" i="0" u="none" strike="noStrike" kern="1200" cap="none" spc="0" normalizeH="0" baseline="0" noProof="0">
                <a:ln>
                  <a:noFill/>
                </a:ln>
                <a:solidFill>
                  <a:srgbClr val="003781"/>
                </a:solidFill>
                <a:effectLst/>
                <a:uLnTx/>
                <a:uFillTx/>
                <a:latin typeface="Allianz Neo PPT"/>
                <a:ea typeface="+mn-ea"/>
                <a:cs typeface="+mn-cs"/>
              </a:rPr>
              <a:t>– von </a:t>
            </a:r>
            <a:r>
              <a:rPr kumimoji="0" lang="de-DE" sz="1200" b="1" i="0" u="none" strike="noStrike" kern="1200" cap="none" spc="0" normalizeH="0" baseline="0" noProof="0">
                <a:ln>
                  <a:noFill/>
                </a:ln>
                <a:solidFill>
                  <a:srgbClr val="003781"/>
                </a:solidFill>
                <a:effectLst/>
                <a:uLnTx/>
                <a:uFillTx/>
                <a:latin typeface="Allianz Neo PPT"/>
                <a:ea typeface="+mn-ea"/>
                <a:cs typeface="+mn-cs"/>
              </a:rPr>
              <a:t>rendite- bis sicherheitsorientiert</a:t>
            </a:r>
            <a:r>
              <a:rPr kumimoji="0" lang="de-DE" sz="1200" b="0" i="0" u="none" strike="noStrike" kern="1200" cap="none" spc="0" normalizeH="0" baseline="0" noProof="0">
                <a:ln>
                  <a:noFill/>
                </a:ln>
                <a:solidFill>
                  <a:srgbClr val="003781"/>
                </a:solidFill>
                <a:effectLst/>
                <a:uLnTx/>
                <a:uFillTx/>
                <a:latin typeface="Allianz Neo PPT"/>
                <a:ea typeface="+mn-ea"/>
                <a:cs typeface="+mn-cs"/>
              </a:rPr>
              <a:t>.</a:t>
            </a:r>
          </a:p>
        </p:txBody>
      </p:sp>
      <p:sp>
        <p:nvSpPr>
          <p:cNvPr id="15" name="Textfeld 14"/>
          <p:cNvSpPr txBox="1"/>
          <p:nvPr/>
        </p:nvSpPr>
        <p:spPr>
          <a:xfrm>
            <a:off x="2035460" y="4574390"/>
            <a:ext cx="2421398" cy="923330"/>
          </a:xfrm>
          <a:prstGeom prst="rect">
            <a:avLst/>
          </a:prstGeom>
        </p:spPr>
        <p:txBody>
          <a:bodyPr wrap="square" lIns="0" tIns="0" rIns="0" bIns="0" rtlCol="0">
            <a:spAutoFit/>
          </a:bodyPr>
          <a:lstStyle/>
          <a:p>
            <a:pPr marL="0" marR="0" lvl="0" indent="0" algn="ctr" defTabSz="115175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3781"/>
                </a:solidFill>
                <a:effectLst/>
                <a:uLnTx/>
                <a:uFillTx/>
                <a:latin typeface="Allianz Neo PPT"/>
                <a:ea typeface="+mn-ea"/>
                <a:cs typeface="+mn-cs"/>
              </a:rPr>
              <a:t>Wir bieten Produkte mit  </a:t>
            </a:r>
            <a:r>
              <a:rPr kumimoji="0" lang="de-DE" sz="1200" b="1" i="0" u="none" strike="noStrike" kern="1200" cap="none" spc="0" normalizeH="0" baseline="0" noProof="0">
                <a:ln>
                  <a:noFill/>
                </a:ln>
                <a:solidFill>
                  <a:srgbClr val="003781"/>
                </a:solidFill>
                <a:effectLst/>
                <a:uLnTx/>
                <a:uFillTx/>
                <a:latin typeface="Allianz Neo PPT"/>
                <a:ea typeface="+mn-ea"/>
                <a:cs typeface="+mn-cs"/>
              </a:rPr>
              <a:t>Beitragsgarantie </a:t>
            </a:r>
            <a:r>
              <a:rPr kumimoji="0" lang="de-DE" sz="1200" b="0" i="0" u="none" strike="noStrike" kern="1200" cap="none" spc="0" normalizeH="0" baseline="0" noProof="0">
                <a:ln>
                  <a:noFill/>
                </a:ln>
                <a:solidFill>
                  <a:srgbClr val="003781"/>
                </a:solidFill>
                <a:effectLst/>
                <a:uLnTx/>
                <a:uFillTx/>
                <a:latin typeface="Allianz Neo PPT"/>
                <a:ea typeface="+mn-ea"/>
                <a:cs typeface="+mn-cs"/>
              </a:rPr>
              <a:t>bei denen sie trotzdem von den </a:t>
            </a:r>
            <a:r>
              <a:rPr kumimoji="0" lang="de-DE" sz="1200" b="1" i="0" u="none" strike="noStrike" kern="1200" cap="none" spc="0" normalizeH="0" baseline="0" noProof="0">
                <a:ln>
                  <a:noFill/>
                </a:ln>
                <a:solidFill>
                  <a:srgbClr val="003781"/>
                </a:solidFill>
                <a:effectLst/>
                <a:uLnTx/>
                <a:uFillTx/>
                <a:latin typeface="Allianz Neo PPT"/>
                <a:ea typeface="+mn-ea"/>
                <a:cs typeface="+mn-cs"/>
              </a:rPr>
              <a:t>Chancen des Kapitalmarkts </a:t>
            </a:r>
            <a:br>
              <a:rPr kumimoji="0" lang="de-DE" sz="1200" b="1" i="0" u="none" strike="noStrike" kern="1200" cap="none" spc="0" normalizeH="0" baseline="0" noProof="0">
                <a:ln>
                  <a:noFill/>
                </a:ln>
                <a:solidFill>
                  <a:srgbClr val="003781"/>
                </a:solidFill>
                <a:effectLst/>
                <a:uLnTx/>
                <a:uFillTx/>
                <a:latin typeface="Allianz Neo PPT"/>
                <a:ea typeface="+mn-ea"/>
                <a:cs typeface="+mn-cs"/>
              </a:rPr>
            </a:br>
            <a:r>
              <a:rPr kumimoji="0" lang="de-DE" sz="1200" b="1" i="0" u="none" strike="noStrike" kern="1200" cap="none" spc="0" normalizeH="0" baseline="0" noProof="0">
                <a:ln>
                  <a:noFill/>
                </a:ln>
                <a:solidFill>
                  <a:srgbClr val="003781"/>
                </a:solidFill>
                <a:effectLst/>
                <a:uLnTx/>
                <a:uFillTx/>
                <a:latin typeface="Allianz Neo PPT"/>
                <a:ea typeface="+mn-ea"/>
                <a:cs typeface="+mn-cs"/>
              </a:rPr>
              <a:t>profitieren </a:t>
            </a:r>
            <a:r>
              <a:rPr kumimoji="0" lang="de-DE" sz="1200" b="0" i="0" u="none" strike="noStrike" kern="1200" cap="none" spc="0" normalizeH="0" baseline="0" noProof="0">
                <a:ln>
                  <a:noFill/>
                </a:ln>
                <a:solidFill>
                  <a:srgbClr val="003781"/>
                </a:solidFill>
                <a:effectLst/>
                <a:uLnTx/>
                <a:uFillTx/>
                <a:latin typeface="Allianz Neo PPT"/>
                <a:ea typeface="+mn-ea"/>
                <a:cs typeface="+mn-cs"/>
              </a:rPr>
              <a:t>können.</a:t>
            </a:r>
          </a:p>
        </p:txBody>
      </p:sp>
      <p:sp>
        <p:nvSpPr>
          <p:cNvPr id="16" name="Textfeld 15"/>
          <p:cNvSpPr txBox="1"/>
          <p:nvPr/>
        </p:nvSpPr>
        <p:spPr>
          <a:xfrm>
            <a:off x="3327140" y="2944346"/>
            <a:ext cx="1968242" cy="738664"/>
          </a:xfrm>
          <a:prstGeom prst="rect">
            <a:avLst/>
          </a:prstGeom>
        </p:spPr>
        <p:txBody>
          <a:bodyPr wrap="square" lIns="0" tIns="0" rIns="0" bIns="0" rtlCol="0">
            <a:spAutoFit/>
          </a:bodyPr>
          <a:lstStyle/>
          <a:p>
            <a:pPr marL="0" marR="0" lvl="0" indent="0" algn="ctr" defTabSz="1151750" rtl="0" eaLnBrk="1" fontAlgn="auto" latinLnBrk="0" hangingPunct="1">
              <a:lnSpc>
                <a:spcPct val="100000"/>
              </a:lnSpc>
              <a:spcBef>
                <a:spcPts val="94"/>
              </a:spcBef>
              <a:spcAft>
                <a:spcPts val="94"/>
              </a:spcAft>
              <a:buClrTx/>
              <a:buSzTx/>
              <a:buFontTx/>
              <a:buNone/>
              <a:tabLst/>
              <a:defRPr/>
            </a:pPr>
            <a:r>
              <a:rPr kumimoji="0" lang="de-DE" sz="1200" b="0" i="0" u="none" strike="noStrike" kern="1200" cap="none" spc="0" normalizeH="0" baseline="0" noProof="0">
                <a:ln>
                  <a:noFill/>
                </a:ln>
                <a:solidFill>
                  <a:srgbClr val="003781"/>
                </a:solidFill>
                <a:effectLst/>
                <a:uLnTx/>
                <a:uFillTx/>
                <a:latin typeface="Allianz Neo PPT"/>
                <a:ea typeface="+mn-ea"/>
                <a:cs typeface="+mn-cs"/>
              </a:rPr>
              <a:t>Mit der Allianz haben Sie auch in unruhigen Zeiten einen </a:t>
            </a:r>
            <a:r>
              <a:rPr kumimoji="0" lang="de-DE" sz="1200" b="1" i="0" u="none" strike="noStrike" kern="1200" cap="none" spc="0" normalizeH="0" baseline="0" noProof="0">
                <a:ln>
                  <a:noFill/>
                </a:ln>
                <a:solidFill>
                  <a:srgbClr val="003781"/>
                </a:solidFill>
                <a:effectLst/>
                <a:uLnTx/>
                <a:uFillTx/>
                <a:latin typeface="Allianz Neo PPT"/>
                <a:ea typeface="+mn-ea"/>
                <a:cs typeface="+mn-cs"/>
              </a:rPr>
              <a:t>verlässlichen Partner </a:t>
            </a:r>
            <a:r>
              <a:rPr kumimoji="0" lang="de-DE" sz="1200" b="0" i="0" u="none" strike="noStrike" kern="1200" cap="none" spc="0" normalizeH="0" baseline="0" noProof="0">
                <a:ln>
                  <a:noFill/>
                </a:ln>
                <a:solidFill>
                  <a:srgbClr val="003781"/>
                </a:solidFill>
                <a:effectLst/>
                <a:uLnTx/>
                <a:uFillTx/>
                <a:latin typeface="Allianz Neo PPT"/>
                <a:ea typeface="+mn-ea"/>
                <a:cs typeface="+mn-cs"/>
              </a:rPr>
              <a:t>an Ihrer Seite.</a:t>
            </a:r>
            <a:endParaRPr kumimoji="0" lang="de-DE" sz="1200" b="1" i="0" u="none" strike="noStrike" kern="1200" cap="none" spc="0" normalizeH="0" baseline="0" noProof="0">
              <a:ln>
                <a:noFill/>
              </a:ln>
              <a:solidFill>
                <a:srgbClr val="003781"/>
              </a:solidFill>
              <a:effectLst/>
              <a:uLnTx/>
              <a:uFillTx/>
              <a:latin typeface="Allianz Neo PPT"/>
              <a:ea typeface="+mn-ea"/>
              <a:cs typeface="+mn-cs"/>
            </a:endParaRPr>
          </a:p>
        </p:txBody>
      </p:sp>
      <p:sp>
        <p:nvSpPr>
          <p:cNvPr id="17" name="Textfeld 16"/>
          <p:cNvSpPr txBox="1"/>
          <p:nvPr/>
        </p:nvSpPr>
        <p:spPr>
          <a:xfrm>
            <a:off x="5073769" y="4264728"/>
            <a:ext cx="2016366" cy="1292662"/>
          </a:xfrm>
          <a:prstGeom prst="rect">
            <a:avLst/>
          </a:prstGeom>
        </p:spPr>
        <p:txBody>
          <a:bodyPr wrap="square" lIns="0" tIns="0" rIns="0" bIns="0" rtlCol="0">
            <a:spAutoFit/>
          </a:bodyPr>
          <a:lstStyle/>
          <a:p>
            <a:pPr marL="0" marR="0" lvl="0" indent="0" algn="ctr" defTabSz="115175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3781"/>
                </a:solidFill>
                <a:effectLst/>
                <a:uLnTx/>
                <a:uFillTx/>
                <a:latin typeface="Allianz Neo PPT"/>
                <a:ea typeface="+mn-ea"/>
                <a:cs typeface="+mn-cs"/>
              </a:rPr>
              <a:t>Wussten Sie schon, </a:t>
            </a:r>
            <a:br>
              <a:rPr kumimoji="0" lang="de-DE" sz="1200" b="0" i="0" u="none" strike="noStrike" kern="1200" cap="none" spc="0" normalizeH="0" baseline="0" noProof="0" dirty="0">
                <a:ln>
                  <a:noFill/>
                </a:ln>
                <a:solidFill>
                  <a:srgbClr val="003781"/>
                </a:solidFill>
                <a:effectLst/>
                <a:uLnTx/>
                <a:uFillTx/>
                <a:latin typeface="Allianz Neo PPT"/>
                <a:ea typeface="+mn-ea"/>
                <a:cs typeface="+mn-cs"/>
              </a:rPr>
            </a:br>
            <a:r>
              <a:rPr kumimoji="0" lang="de-DE" sz="1200" b="0" i="0" u="none" strike="noStrike" kern="1200" cap="none" spc="0" normalizeH="0" baseline="0" noProof="0" dirty="0">
                <a:ln>
                  <a:noFill/>
                </a:ln>
                <a:solidFill>
                  <a:srgbClr val="003781"/>
                </a:solidFill>
                <a:effectLst/>
                <a:uLnTx/>
                <a:uFillTx/>
                <a:latin typeface="Allianz Neo PPT"/>
                <a:ea typeface="+mn-ea"/>
                <a:cs typeface="+mn-cs"/>
              </a:rPr>
              <a:t>dass Sie Ihre </a:t>
            </a:r>
            <a:r>
              <a:rPr kumimoji="0" lang="de-DE" sz="1200" b="1" i="0" u="none" strike="noStrike" kern="1200" cap="none" spc="0" normalizeH="0" baseline="0" noProof="0" dirty="0">
                <a:ln>
                  <a:noFill/>
                </a:ln>
                <a:solidFill>
                  <a:srgbClr val="003781"/>
                </a:solidFill>
                <a:effectLst/>
                <a:uLnTx/>
                <a:uFillTx/>
                <a:latin typeface="Allianz Neo PPT"/>
                <a:ea typeface="+mn-ea"/>
                <a:cs typeface="+mn-cs"/>
              </a:rPr>
              <a:t>Erhöhung/Zuzahlung </a:t>
            </a:r>
            <a:r>
              <a:rPr kumimoji="0" lang="de-DE" sz="1200" b="0" i="0" u="none" strike="noStrike" kern="1200" cap="none" spc="0" normalizeH="0" baseline="0" noProof="0" dirty="0">
                <a:ln>
                  <a:noFill/>
                </a:ln>
                <a:solidFill>
                  <a:srgbClr val="003781"/>
                </a:solidFill>
                <a:effectLst/>
                <a:uLnTx/>
                <a:uFillTx/>
                <a:latin typeface="Allianz Neo PPT"/>
                <a:ea typeface="+mn-ea"/>
                <a:cs typeface="+mn-cs"/>
              </a:rPr>
              <a:t>zum </a:t>
            </a:r>
            <a:r>
              <a:rPr kumimoji="0" lang="de-DE" sz="1200" b="0" i="0" u="none" strike="noStrike" kern="1200" cap="none" spc="0" normalizeH="0" baseline="0" noProof="0" dirty="0" err="1">
                <a:ln>
                  <a:noFill/>
                </a:ln>
                <a:solidFill>
                  <a:srgbClr val="003781"/>
                </a:solidFill>
                <a:effectLst/>
                <a:uLnTx/>
                <a:uFillTx/>
                <a:latin typeface="Allianz Neo PPT"/>
                <a:ea typeface="+mn-ea"/>
                <a:cs typeface="+mn-cs"/>
              </a:rPr>
              <a:t>SchatzBrief</a:t>
            </a:r>
            <a:r>
              <a:rPr kumimoji="0" lang="de-DE" sz="1200" b="0" i="0" u="none" strike="noStrike" kern="1200" cap="none" spc="0" normalizeH="0" baseline="0" noProof="0" dirty="0">
                <a:ln>
                  <a:noFill/>
                </a:ln>
                <a:solidFill>
                  <a:srgbClr val="003781"/>
                </a:solidFill>
                <a:effectLst/>
                <a:uLnTx/>
                <a:uFillTx/>
                <a:latin typeface="Allianz Neo PPT"/>
                <a:ea typeface="+mn-ea"/>
                <a:cs typeface="+mn-cs"/>
              </a:rPr>
              <a:t> und</a:t>
            </a:r>
            <a:r>
              <a:rPr kumimoji="0" lang="de-DE" sz="1200" b="0" i="0" u="none" strike="noStrike" kern="1200" cap="none" spc="0" normalizeH="0" noProof="0" dirty="0">
                <a:ln>
                  <a:noFill/>
                </a:ln>
                <a:solidFill>
                  <a:srgbClr val="003781"/>
                </a:solidFill>
                <a:effectLst/>
                <a:uLnTx/>
                <a:uFillTx/>
                <a:latin typeface="Allianz Neo PPT"/>
                <a:ea typeface="+mn-ea"/>
                <a:cs typeface="+mn-cs"/>
              </a:rPr>
              <a:t> zur </a:t>
            </a:r>
            <a:r>
              <a:rPr kumimoji="0" lang="de-DE" sz="1200" b="0" i="0" u="none" strike="noStrike" kern="1200" cap="none" spc="0" normalizeH="0" noProof="0" dirty="0" err="1">
                <a:ln>
                  <a:noFill/>
                </a:ln>
                <a:solidFill>
                  <a:srgbClr val="003781"/>
                </a:solidFill>
                <a:effectLst/>
                <a:uLnTx/>
                <a:uFillTx/>
                <a:latin typeface="Allianz Neo PPT"/>
                <a:ea typeface="+mn-ea"/>
                <a:cs typeface="+mn-cs"/>
              </a:rPr>
              <a:t>PrivatRente</a:t>
            </a:r>
            <a:r>
              <a:rPr kumimoji="0" lang="de-DE" sz="1200" b="0" i="0" u="none" strike="noStrike" kern="1200" cap="none" spc="0" normalizeH="0" noProof="0" dirty="0">
                <a:ln>
                  <a:noFill/>
                </a:ln>
                <a:solidFill>
                  <a:srgbClr val="003781"/>
                </a:solidFill>
                <a:effectLst/>
                <a:uLnTx/>
                <a:uFillTx/>
                <a:latin typeface="Allianz Neo PPT"/>
                <a:ea typeface="+mn-ea"/>
                <a:cs typeface="+mn-cs"/>
              </a:rPr>
              <a:t> </a:t>
            </a:r>
            <a:r>
              <a:rPr kumimoji="0" lang="de-DE" sz="1200" b="0" i="0" u="none" strike="noStrike" kern="1200" cap="none" spc="0" normalizeH="0" baseline="0" noProof="0" dirty="0">
                <a:ln>
                  <a:noFill/>
                </a:ln>
                <a:solidFill>
                  <a:srgbClr val="003781"/>
                </a:solidFill>
                <a:effectLst/>
                <a:uLnTx/>
                <a:uFillTx/>
                <a:latin typeface="Allianz Neo PPT"/>
                <a:ea typeface="+mn-ea"/>
                <a:cs typeface="+mn-cs"/>
              </a:rPr>
              <a:t>auch eigenständig durchführen können?</a:t>
            </a: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8180737" cy="252000"/>
          </a:xfrm>
        </p:spPr>
        <p:txBody>
          <a:bodyPr/>
          <a:lstStyle/>
          <a:p>
            <a:pPr defTabSz="864006">
              <a:defRPr/>
            </a:pPr>
            <a:r>
              <a:rPr lang="de-DE" dirty="0">
                <a:solidFill>
                  <a:srgbClr val="003781"/>
                </a:solidFill>
                <a:latin typeface="+mj-lt"/>
                <a:cs typeface="Arial" panose="020B0604020202020204" pitchFamily="34" charset="0"/>
              </a:rPr>
              <a:t>Briefaktion: Förderung und Zuzahlung Einmalbeitragsgeschäft 2024 (</a:t>
            </a:r>
            <a:r>
              <a:rPr lang="de-DE" dirty="0"/>
              <a:t>22783</a:t>
            </a:r>
            <a:r>
              <a:rPr lang="de-DE" dirty="0">
                <a:solidFill>
                  <a:srgbClr val="003781"/>
                </a:solidFill>
                <a:latin typeface="+mj-lt"/>
                <a:cs typeface="Arial" panose="020B0604020202020204" pitchFamily="34" charset="0"/>
              </a:rPr>
              <a:t>)</a:t>
            </a:r>
          </a:p>
        </p:txBody>
      </p:sp>
    </p:spTree>
    <p:extLst>
      <p:ext uri="{BB962C8B-B14F-4D97-AF65-F5344CB8AC3E}">
        <p14:creationId xmlns:p14="http://schemas.microsoft.com/office/powerpoint/2010/main" val="18656155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4800" dirty="0">
                <a:latin typeface="Allianz Neo PPT" panose="020B0604020202020204" charset="0"/>
                <a:cs typeface="Arial" panose="020B0604020202020204" pitchFamily="34" charset="0"/>
              </a:rPr>
              <a:t>Worauf warten Sie noch?</a:t>
            </a:r>
            <a:br>
              <a:rPr lang="de-DE" sz="4800" dirty="0">
                <a:latin typeface="Allianz Neo PPT" panose="020B0604020202020204" charset="0"/>
                <a:cs typeface="Arial" panose="020B0604020202020204" pitchFamily="34" charset="0"/>
              </a:rPr>
            </a:br>
            <a:r>
              <a:rPr lang="de-DE" sz="4800" dirty="0">
                <a:solidFill>
                  <a:srgbClr val="13A0D3"/>
                </a:solidFill>
                <a:latin typeface="Allianz Neo PPT" panose="020B0604020202020204" charset="0"/>
                <a:cs typeface="Arial" panose="020B0604020202020204" pitchFamily="34" charset="0"/>
              </a:rPr>
              <a:t>Alles startklar für Ihren Erfolg!</a:t>
            </a:r>
          </a:p>
        </p:txBody>
      </p:sp>
      <p:sp>
        <p:nvSpPr>
          <p:cNvPr id="3" name="Inhaltsplatzhalter 2"/>
          <p:cNvSpPr>
            <a:spLocks noGrp="1"/>
          </p:cNvSpPr>
          <p:nvPr>
            <p:ph idx="1"/>
          </p:nvPr>
        </p:nvSpPr>
        <p:spPr>
          <a:xfrm>
            <a:off x="468315" y="2268538"/>
            <a:ext cx="9113836" cy="3384550"/>
          </a:xfrm>
          <a:ln>
            <a:noFill/>
          </a:ln>
        </p:spPr>
        <p:txBody>
          <a:bodyPr/>
          <a:lstStyle/>
          <a:p>
            <a:r>
              <a:rPr lang="de-DE" b="1" dirty="0"/>
              <a:t>	</a:t>
            </a:r>
          </a:p>
          <a:p>
            <a:r>
              <a:rPr lang="de-DE" sz="1600" b="1" dirty="0">
                <a:latin typeface="Allianz Neo PPT" panose="020B0604020202020204" charset="0"/>
                <a:cs typeface="Arial" panose="020B0604020202020204" pitchFamily="34" charset="0"/>
              </a:rPr>
              <a:t>Viel Erfolg – und glückliche Kunden – mit der Aktion für vermögende Kunden!</a:t>
            </a:r>
          </a:p>
          <a:p>
            <a:r>
              <a:rPr lang="de-DE" sz="1600" dirty="0">
                <a:latin typeface="Allianz Neo PPT" panose="020B0604020202020204" charset="0"/>
                <a:cs typeface="Arial" panose="020B0604020202020204" pitchFamily="34" charset="0"/>
              </a:rPr>
              <a:t>Alle Kunden sind bereits im ACA erfasst. Sie brauchen nur noch loszulegen und mit Ihren Kunden Termine zu vereinbaren.</a:t>
            </a:r>
          </a:p>
          <a:p>
            <a:endParaRPr lang="de-DE" sz="1600" dirty="0">
              <a:latin typeface="Allianz Neo PPT" panose="020B0604020202020204" charset="0"/>
              <a:cs typeface="Arial" panose="020B0604020202020204" pitchFamily="34" charset="0"/>
            </a:endParaRPr>
          </a:p>
          <a:p>
            <a:r>
              <a:rPr lang="de-DE" sz="1600" b="1" dirty="0">
                <a:latin typeface="Allianz Neo PPT" panose="020B0604020202020204" charset="0"/>
                <a:cs typeface="Arial" panose="020B0604020202020204" pitchFamily="34" charset="0"/>
              </a:rPr>
              <a:t>Weitere Informationen für Ihre Aktionsbearbeitung &amp; Kundenansprache:</a:t>
            </a:r>
            <a:endParaRPr lang="de-DE" sz="1600" dirty="0">
              <a:latin typeface="Allianz Neo PPT" panose="020B0604020202020204" charset="0"/>
              <a:cs typeface="Arial" panose="020B0604020202020204" pitchFamily="34" charset="0"/>
            </a:endParaRPr>
          </a:p>
          <a:p>
            <a:endParaRPr lang="de-DE" dirty="0">
              <a:latin typeface="Arial" panose="020B0604020202020204" pitchFamily="34" charset="0"/>
              <a:cs typeface="Arial" panose="020B0604020202020204" pitchFamily="34" charset="0"/>
            </a:endParaRPr>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rial" panose="020B0604020202020204" pitchFamily="34" charset="0"/>
                <a:cs typeface="Arial" panose="020B0604020202020204" pitchFamily="34" charset="0"/>
              </a:rPr>
              <a:pPr marL="0" marR="0" lvl="0" indent="0" algn="l" defTabSz="864017" rtl="0" eaLnBrk="1" fontAlgn="auto" latinLnBrk="0" hangingPunct="1">
                <a:lnSpc>
                  <a:spcPct val="100000"/>
                </a:lnSpc>
                <a:spcBef>
                  <a:spcPts val="0"/>
                </a:spcBef>
                <a:spcAft>
                  <a:spcPts val="0"/>
                </a:spcAft>
                <a:buClrTx/>
                <a:buSzTx/>
                <a:buFontTx/>
                <a:buNone/>
                <a:tabLst/>
                <a:defRPr/>
              </a:pPr>
              <a:t>13</a:t>
            </a:fld>
            <a:endParaRPr kumimoji="0" lang="en-GB" sz="750" b="1" i="0" u="none" strike="noStrike" kern="1200" cap="none" spc="0" normalizeH="0" baseline="0" noProof="0">
              <a:ln>
                <a:noFill/>
              </a:ln>
              <a:solidFill>
                <a:srgbClr val="003781"/>
              </a:solidFill>
              <a:effectLst/>
              <a:uLnTx/>
              <a:uFillTx/>
              <a:latin typeface="Arial" panose="020B0604020202020204" pitchFamily="34" charset="0"/>
              <a:cs typeface="Arial" panose="020B0604020202020204" pitchFamily="34" charset="0"/>
            </a:endParaRPr>
          </a:p>
        </p:txBody>
      </p:sp>
      <p:sp>
        <p:nvSpPr>
          <p:cNvPr id="17" name="Rechteck 16">
            <a:extLst>
              <a:ext uri="{FF2B5EF4-FFF2-40B4-BE49-F238E27FC236}">
                <a16:creationId xmlns:a16="http://schemas.microsoft.com/office/drawing/2014/main" id="{A31690FD-F0C7-BD47-B595-3B2A45517880}"/>
              </a:ext>
            </a:extLst>
          </p:cNvPr>
          <p:cNvSpPr/>
          <p:nvPr/>
        </p:nvSpPr>
        <p:spPr>
          <a:xfrm>
            <a:off x="3111077" y="3928592"/>
            <a:ext cx="2482642" cy="1722746"/>
          </a:xfrm>
          <a:prstGeom prst="rect">
            <a:avLst/>
          </a:prstGeom>
          <a:solidFill>
            <a:srgbClr val="C0D0FF"/>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ctr" defTabSz="864017" rtl="0" eaLnBrk="1" fontAlgn="auto" latinLnBrk="0" hangingPunct="1">
              <a:lnSpc>
                <a:spcPct val="100000"/>
              </a:lnSpc>
              <a:spcBef>
                <a:spcPts val="94"/>
              </a:spcBef>
              <a:spcAft>
                <a:spcPts val="94"/>
              </a:spcAft>
              <a:buClrTx/>
              <a:buSzTx/>
              <a:buFontTx/>
              <a:buNone/>
              <a:tabLst/>
              <a:defRPr/>
            </a:pPr>
            <a:r>
              <a:rPr kumimoji="0" lang="de-DE" sz="14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ktionsbox                                                            zur Aktion </a:t>
            </a:r>
          </a:p>
        </p:txBody>
      </p:sp>
      <p:sp>
        <p:nvSpPr>
          <p:cNvPr id="21" name="Rechteck 20">
            <a:hlinkClick r:id="rId3"/>
            <a:extLst>
              <a:ext uri="{FF2B5EF4-FFF2-40B4-BE49-F238E27FC236}">
                <a16:creationId xmlns:a16="http://schemas.microsoft.com/office/drawing/2014/main" id="{373CECB8-A722-2D4C-BEA8-F9CB440202B6}"/>
              </a:ext>
            </a:extLst>
          </p:cNvPr>
          <p:cNvSpPr/>
          <p:nvPr/>
        </p:nvSpPr>
        <p:spPr>
          <a:xfrm>
            <a:off x="492641" y="3928592"/>
            <a:ext cx="2516651" cy="1722746"/>
          </a:xfrm>
          <a:prstGeom prst="rect">
            <a:avLst/>
          </a:prstGeom>
          <a:solidFill>
            <a:srgbClr val="C0D0FF"/>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ctr" defTabSz="115175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Basiskommunikation</a:t>
            </a:r>
          </a:p>
          <a:p>
            <a:pPr marL="0" marR="0" lvl="0" indent="0" algn="ctr" defTabSz="1151750" rtl="0" eaLnBrk="1" fontAlgn="auto" latinLnBrk="0" hangingPunct="1">
              <a:lnSpc>
                <a:spcPct val="100000"/>
              </a:lnSpc>
              <a:spcBef>
                <a:spcPts val="0"/>
              </a:spcBef>
              <a:spcAft>
                <a:spcPts val="0"/>
              </a:spcAft>
              <a:buClrTx/>
              <a:buSzTx/>
              <a:buFontTx/>
              <a:buNone/>
              <a:tabLst/>
              <a:defRPr/>
            </a:pPr>
            <a:r>
              <a:rPr lang="de-DE" sz="1400" b="1" dirty="0">
                <a:solidFill>
                  <a:srgbClr val="003781"/>
                </a:solidFill>
                <a:latin typeface="Arial" panose="020B0604020202020204" pitchFamily="34" charset="0"/>
                <a:cs typeface="Arial" panose="020B0604020202020204" pitchFamily="34" charset="0"/>
              </a:rPr>
              <a:t>Förd. und Zuzahlung EB</a:t>
            </a:r>
            <a:endParaRPr kumimoji="0" lang="de-DE" sz="14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4" name="Rechteck 23">
            <a:hlinkClick r:id="rId4"/>
            <a:extLst>
              <a:ext uri="{FF2B5EF4-FFF2-40B4-BE49-F238E27FC236}">
                <a16:creationId xmlns:a16="http://schemas.microsoft.com/office/drawing/2014/main" id="{373CECB8-A722-2D4C-BEA8-F9CB440202B6}"/>
              </a:ext>
            </a:extLst>
          </p:cNvPr>
          <p:cNvSpPr/>
          <p:nvPr/>
        </p:nvSpPr>
        <p:spPr>
          <a:xfrm>
            <a:off x="492641" y="4485938"/>
            <a:ext cx="2523558" cy="1167599"/>
          </a:xfrm>
          <a:prstGeom prst="rect">
            <a:avLst/>
          </a:prstGeom>
          <a:solidFill>
            <a:srgbClr val="C0D0FF"/>
          </a:solidFill>
          <a:ln>
            <a:solidFill>
              <a:schemeClr val="tx1"/>
            </a:solid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171450" marR="0" lvl="0" indent="-171450" algn="l" defTabSz="11517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Folien Basiskommunikation</a:t>
            </a:r>
          </a:p>
          <a:p>
            <a:pPr marL="171450" marR="0" lvl="0" indent="-171450" algn="l" defTabSz="11517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Bedarfs- und Beratungscharts</a:t>
            </a:r>
          </a:p>
          <a:p>
            <a:pPr marL="171450" marR="0" lvl="0" indent="-171450" algn="l" defTabSz="11517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Detailfoliensätze zu</a:t>
            </a:r>
            <a:r>
              <a:rPr kumimoji="0" lang="de-DE" sz="1200" b="0" i="0" u="none" strike="noStrike" kern="1200" cap="none" spc="0" normalizeH="0" noProof="0" dirty="0">
                <a:ln>
                  <a:noFill/>
                </a:ln>
                <a:solidFill>
                  <a:srgbClr val="003781"/>
                </a:solidFill>
                <a:effectLst/>
                <a:uLnTx/>
                <a:uFillTx/>
                <a:latin typeface="Arial" panose="020B0604020202020204" pitchFamily="34" charset="0"/>
                <a:cs typeface="Arial" panose="020B0604020202020204" pitchFamily="34" charset="0"/>
              </a:rPr>
              <a:t> den </a:t>
            </a:r>
            <a:r>
              <a:rPr lang="de-DE" sz="1200" dirty="0">
                <a:solidFill>
                  <a:srgbClr val="003781"/>
                </a:solidFill>
                <a:latin typeface="Arial" panose="020B0604020202020204" pitchFamily="34" charset="0"/>
                <a:cs typeface="Arial" panose="020B0604020202020204" pitchFamily="34" charset="0"/>
              </a:rPr>
              <a:t>P</a:t>
            </a:r>
            <a:r>
              <a:rPr kumimoji="0" lang="de-DE" sz="1200" b="0" i="0" u="none" strike="noStrike" kern="1200" cap="none" spc="0" normalizeH="0" noProof="0" dirty="0" err="1">
                <a:ln>
                  <a:noFill/>
                </a:ln>
                <a:solidFill>
                  <a:srgbClr val="003781"/>
                </a:solidFill>
                <a:effectLst/>
                <a:uLnTx/>
                <a:uFillTx/>
                <a:latin typeface="Arial" panose="020B0604020202020204" pitchFamily="34" charset="0"/>
                <a:cs typeface="Arial" panose="020B0604020202020204" pitchFamily="34" charset="0"/>
              </a:rPr>
              <a:t>rodukten</a:t>
            </a:r>
            <a:b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hlinkClick r:id="rId4"/>
              </a:rPr>
              <a:t>&gt;&gt;</a:t>
            </a:r>
            <a:r>
              <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hlinkClick r:id="rId4"/>
              </a:rPr>
              <a:t>Link</a:t>
            </a:r>
            <a:endPar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5" name="Rechteck 24">
            <a:hlinkClick r:id="rId5"/>
            <a:extLst>
              <a:ext uri="{FF2B5EF4-FFF2-40B4-BE49-F238E27FC236}">
                <a16:creationId xmlns:a16="http://schemas.microsoft.com/office/drawing/2014/main" id="{A31690FD-F0C7-BD47-B595-3B2A45517880}"/>
              </a:ext>
            </a:extLst>
          </p:cNvPr>
          <p:cNvSpPr/>
          <p:nvPr/>
        </p:nvSpPr>
        <p:spPr>
          <a:xfrm>
            <a:off x="3114011" y="4485938"/>
            <a:ext cx="2482642" cy="1167599"/>
          </a:xfrm>
          <a:prstGeom prst="rect">
            <a:avLst/>
          </a:prstGeom>
          <a:solidFill>
            <a:srgbClr val="C0D0FF"/>
          </a:solidFill>
          <a:ln>
            <a:solidFill>
              <a:schemeClr val="tx1"/>
            </a:solid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Unterstützende Unterlagen wie </a:t>
            </a:r>
          </a:p>
          <a:p>
            <a:pPr marL="171450" marR="0" lvl="0" indent="-171450" algn="l" defTabSz="864017" rtl="0" eaLnBrk="1" fontAlgn="auto" latinLnBrk="0" hangingPunct="1">
              <a:lnSpc>
                <a:spcPct val="100000"/>
              </a:lnSpc>
              <a:spcBef>
                <a:spcPts val="94"/>
              </a:spcBef>
              <a:spcAft>
                <a:spcPts val="94"/>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Weitere Informationen zum Anspracheanlass</a:t>
            </a:r>
          </a:p>
          <a:p>
            <a:pPr marL="171450" marR="0" lvl="0" indent="-171450" algn="l" defTabSz="864017" rtl="0" eaLnBrk="1" fontAlgn="auto" latinLnBrk="0" hangingPunct="1">
              <a:lnSpc>
                <a:spcPct val="100000"/>
              </a:lnSpc>
              <a:spcBef>
                <a:spcPts val="94"/>
              </a:spcBef>
              <a:spcAft>
                <a:spcPts val="94"/>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PDF der Kundenunterlagen</a:t>
            </a:r>
            <a:b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hlinkClick r:id="rId6"/>
              </a:rPr>
              <a:t>&gt;&gt;</a:t>
            </a:r>
            <a:r>
              <a:rPr kumimoji="0" lang="de-DE" sz="1200" b="1" i="0" u="sng"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hlinkClick r:id="rId6"/>
              </a:rPr>
              <a:t>Link</a:t>
            </a:r>
            <a:endParaRPr kumimoji="0" lang="de-DE" sz="1200" b="1" i="0" u="sng"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p:txBody>
      </p:sp>
      <p:sp>
        <p:nvSpPr>
          <p:cNvPr id="23" name="Rechteck 22">
            <a:hlinkClick r:id="rId7"/>
            <a:extLst>
              <a:ext uri="{FF2B5EF4-FFF2-40B4-BE49-F238E27FC236}">
                <a16:creationId xmlns:a16="http://schemas.microsoft.com/office/drawing/2014/main" id="{EFFB0846-6D6D-DC46-A88E-02982350F699}"/>
              </a:ext>
            </a:extLst>
          </p:cNvPr>
          <p:cNvSpPr/>
          <p:nvPr/>
        </p:nvSpPr>
        <p:spPr>
          <a:xfrm>
            <a:off x="5691531" y="3926390"/>
            <a:ext cx="2516651" cy="1722746"/>
          </a:xfrm>
          <a:prstGeom prst="rect">
            <a:avLst/>
          </a:prstGeom>
          <a:solidFill>
            <a:srgbClr val="C0D0FF"/>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CA</a:t>
            </a:r>
          </a:p>
        </p:txBody>
      </p:sp>
      <p:sp>
        <p:nvSpPr>
          <p:cNvPr id="26" name="Rechteck 25">
            <a:hlinkClick r:id="rId8"/>
            <a:extLst>
              <a:ext uri="{FF2B5EF4-FFF2-40B4-BE49-F238E27FC236}">
                <a16:creationId xmlns:a16="http://schemas.microsoft.com/office/drawing/2014/main" id="{EFFB0846-6D6D-DC46-A88E-02982350F699}"/>
              </a:ext>
            </a:extLst>
          </p:cNvPr>
          <p:cNvSpPr/>
          <p:nvPr/>
        </p:nvSpPr>
        <p:spPr>
          <a:xfrm>
            <a:off x="5691531" y="4483737"/>
            <a:ext cx="2516651" cy="1167599"/>
          </a:xfrm>
          <a:prstGeom prst="rect">
            <a:avLst/>
          </a:prstGeom>
          <a:solidFill>
            <a:srgbClr val="C0D0FF"/>
          </a:solidFill>
          <a:ln>
            <a:solidFill>
              <a:schemeClr val="tx1"/>
            </a:solid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171450" marR="0" lvl="0" indent="-171450" algn="l" defTabSz="864017" rtl="0" eaLnBrk="1" fontAlgn="auto" latinLnBrk="0" hangingPunct="1">
              <a:lnSpc>
                <a:spcPct val="100000"/>
              </a:lnSpc>
              <a:spcBef>
                <a:spcPts val="94"/>
              </a:spcBef>
              <a:spcAft>
                <a:spcPts val="94"/>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Informationen zum Aktionsdaten Center Allianz (ACA)</a:t>
            </a:r>
            <a:b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gt;&gt;</a:t>
            </a:r>
            <a:r>
              <a:rPr kumimoji="0" lang="de-DE" sz="12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hlinkClick r:id="rId8"/>
              </a:rPr>
              <a:t>Link</a:t>
            </a:r>
            <a:endParaRPr kumimoji="0" lang="de-DE" sz="12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p:txBody>
      </p:sp>
      <p:sp>
        <p:nvSpPr>
          <p:cNvPr id="35"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llianz 2024</a:t>
            </a:r>
          </a:p>
        </p:txBody>
      </p:sp>
      <p:sp>
        <p:nvSpPr>
          <p:cNvPr id="37" name="Textplatzhalter 2"/>
          <p:cNvSpPr txBox="1">
            <a:spLocks/>
          </p:cNvSpPr>
          <p:nvPr/>
        </p:nvSpPr>
        <p:spPr>
          <a:xfrm>
            <a:off x="482007" y="6088692"/>
            <a:ext cx="2534192" cy="195729"/>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p>
        </p:txBody>
      </p:sp>
      <p:sp>
        <p:nvSpPr>
          <p:cNvPr id="19"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7" y="469045"/>
            <a:ext cx="8111631" cy="251905"/>
          </a:xfrm>
        </p:spPr>
        <p:txBody>
          <a:bodyPr/>
          <a:lstStyle/>
          <a:p>
            <a:pPr defTabSz="864006">
              <a:defRPr/>
            </a:pPr>
            <a:r>
              <a:rPr lang="de-DE" dirty="0">
                <a:solidFill>
                  <a:srgbClr val="003781"/>
                </a:solidFill>
                <a:latin typeface="+mj-lt"/>
                <a:cs typeface="Arial" panose="020B0604020202020204" pitchFamily="34" charset="0"/>
              </a:rPr>
              <a:t>Briefaktion: Förderung und Zuzahlung Einmalbeitragsgeschäft 2024 (</a:t>
            </a:r>
            <a:r>
              <a:rPr lang="de-DE" dirty="0"/>
              <a:t>22783</a:t>
            </a:r>
            <a:r>
              <a:rPr lang="de-DE" dirty="0">
                <a:solidFill>
                  <a:srgbClr val="003781"/>
                </a:solidFill>
                <a:latin typeface="+mj-lt"/>
                <a:cs typeface="Arial" panose="020B0604020202020204" pitchFamily="34" charset="0"/>
              </a:rPr>
              <a:t>)</a:t>
            </a:r>
          </a:p>
        </p:txBody>
      </p:sp>
    </p:spTree>
    <p:extLst>
      <p:ext uri="{BB962C8B-B14F-4D97-AF65-F5344CB8AC3E}">
        <p14:creationId xmlns:p14="http://schemas.microsoft.com/office/powerpoint/2010/main" val="2215017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p:cNvSpPr/>
          <p:nvPr/>
        </p:nvSpPr>
        <p:spPr>
          <a:xfrm>
            <a:off x="4342" y="1917098"/>
            <a:ext cx="11516146" cy="4086358"/>
          </a:xfrm>
          <a:prstGeom prst="rect">
            <a:avLst/>
          </a:prstGeom>
          <a:solidFill>
            <a:srgbClr val="E4E9EE">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63742" rtl="0" eaLnBrk="1" fontAlgn="auto" latinLnBrk="0" hangingPunct="1">
              <a:lnSpc>
                <a:spcPct val="100000"/>
              </a:lnSpc>
              <a:spcBef>
                <a:spcPts val="0"/>
              </a:spcBef>
              <a:spcAft>
                <a:spcPts val="0"/>
              </a:spcAft>
              <a:buClrTx/>
              <a:buSzTx/>
              <a:buFontTx/>
              <a:buNone/>
              <a:tabLst/>
              <a:defRPr/>
            </a:pPr>
            <a:endParaRPr kumimoji="0" lang="de-DE" sz="1700" b="0" i="0" u="none" strike="noStrike" kern="1200" cap="none" spc="0" normalizeH="0" baseline="0" noProof="0">
              <a:ln>
                <a:noFill/>
              </a:ln>
              <a:solidFill>
                <a:srgbClr val="FFFFFF"/>
              </a:solidFill>
              <a:effectLst/>
              <a:uLnTx/>
              <a:uFillTx/>
              <a:latin typeface="Allianz Neo PPT"/>
              <a:ea typeface="+mn-ea"/>
              <a:cs typeface="+mn-cs"/>
            </a:endParaRPr>
          </a:p>
        </p:txBody>
      </p:sp>
      <p:sp>
        <p:nvSpPr>
          <p:cNvPr id="2" name="Title 1"/>
          <p:cNvSpPr>
            <a:spLocks noGrp="1"/>
          </p:cNvSpPr>
          <p:nvPr>
            <p:ph type="title"/>
          </p:nvPr>
        </p:nvSpPr>
        <p:spPr/>
        <p:txBody>
          <a:bodyPr/>
          <a:lstStyle/>
          <a:p>
            <a:r>
              <a:rPr lang="de-DE" sz="4800" dirty="0">
                <a:latin typeface="Arial" panose="020B0604020202020204" pitchFamily="34" charset="0"/>
                <a:cs typeface="Arial" panose="020B0604020202020204" pitchFamily="34" charset="0"/>
              </a:rPr>
              <a:t>Informationen zum </a:t>
            </a:r>
            <a:r>
              <a:rPr lang="de-DE" sz="4800" dirty="0">
                <a:solidFill>
                  <a:srgbClr val="13A0D3"/>
                </a:solidFill>
                <a:latin typeface="Arial" panose="020B0604020202020204" pitchFamily="34" charset="0"/>
                <a:cs typeface="Arial" panose="020B0604020202020204" pitchFamily="34" charset="0"/>
              </a:rPr>
              <a:t>Datenschutz</a:t>
            </a:r>
          </a:p>
        </p:txBody>
      </p:sp>
      <p:sp>
        <p:nvSpPr>
          <p:cNvPr id="3" name="Inhaltsplatzhalter 2"/>
          <p:cNvSpPr>
            <a:spLocks noGrp="1"/>
          </p:cNvSpPr>
          <p:nvPr>
            <p:ph idx="1"/>
          </p:nvPr>
        </p:nvSpPr>
        <p:spPr>
          <a:xfrm>
            <a:off x="468312" y="2064753"/>
            <a:ext cx="8602115" cy="2989104"/>
          </a:xfrm>
        </p:spPr>
        <p:txBody>
          <a:bodyPr/>
          <a:lstStyle/>
          <a:p>
            <a:r>
              <a:rPr lang="de-DE" sz="1400" dirty="0">
                <a:latin typeface="Arial" panose="020B0604020202020204" pitchFamily="34" charset="0"/>
                <a:cs typeface="Arial" panose="020B0604020202020204" pitchFamily="34" charset="0"/>
              </a:rPr>
              <a:t>Briefe an Bestandskunden mit werblichem Inhalt erfordern keine explizite Einwilligung des Kunden. Jedoch können Kunden auch postalischer Werbung widersprechen. Ein solcher Widerspruch führt zum Ausschluss bei künftigen Werbeaktionen. Kunden, die bei uns einen solchen Werbewiderspruch bereits vermerkt haben, werden aus der Aktion ausgeschlossen. </a:t>
            </a:r>
          </a:p>
          <a:p>
            <a:endParaRPr lang="de-DE" sz="1400" dirty="0">
              <a:latin typeface="Arial" panose="020B0604020202020204" pitchFamily="34" charset="0"/>
              <a:cs typeface="Arial" panose="020B0604020202020204" pitchFamily="34" charset="0"/>
            </a:endParaRPr>
          </a:p>
          <a:p>
            <a:r>
              <a:rPr lang="de-DE" sz="1400" dirty="0">
                <a:latin typeface="Arial" panose="020B0604020202020204" pitchFamily="34" charset="0"/>
                <a:cs typeface="Arial" panose="020B0604020202020204" pitchFamily="34" charset="0"/>
              </a:rPr>
              <a:t>Werbewidersprüche, die Kunden Ihnen gegenüber aussprechen (z. B. als Reaktion auf das Anschreiben zu einer Aktion) bitte neben der Eintragung in Makler Portal auch immer an </a:t>
            </a:r>
            <a:r>
              <a:rPr lang="de-DE" sz="1400" dirty="0">
                <a:latin typeface="Arial" panose="020B0604020202020204" pitchFamily="34" charset="0"/>
                <a:cs typeface="Arial" panose="020B0604020202020204" pitchFamily="34" charset="0"/>
                <a:hlinkClick r:id="rId2"/>
              </a:rPr>
              <a:t>werbewiderspruch@allianz.de</a:t>
            </a:r>
            <a:r>
              <a:rPr lang="de-DE" sz="1400" dirty="0">
                <a:latin typeface="Arial" panose="020B0604020202020204" pitchFamily="34" charset="0"/>
                <a:cs typeface="Arial" panose="020B0604020202020204" pitchFamily="34" charset="0"/>
              </a:rPr>
              <a:t> senden, da nur so die Eintragung eines umfassenden Werbewiderspruchs sichergestellt ist. </a:t>
            </a:r>
          </a:p>
          <a:p>
            <a:endParaRPr lang="de-DE" sz="1400" b="1" dirty="0">
              <a:latin typeface="Arial" panose="020B0604020202020204" pitchFamily="34" charset="0"/>
              <a:cs typeface="Arial" panose="020B0604020202020204" pitchFamily="34" charset="0"/>
            </a:endParaRPr>
          </a:p>
          <a:p>
            <a:endParaRPr lang="de-DE" sz="1400" b="1" dirty="0">
              <a:latin typeface="Arial" panose="020B0604020202020204" pitchFamily="34" charset="0"/>
              <a:cs typeface="Arial" panose="020B0604020202020204" pitchFamily="34" charset="0"/>
            </a:endParaRPr>
          </a:p>
          <a:p>
            <a:endParaRPr lang="de-DE" sz="1400" b="1" dirty="0">
              <a:latin typeface="Arial" panose="020B0604020202020204" pitchFamily="34" charset="0"/>
              <a:cs typeface="Arial" panose="020B0604020202020204" pitchFamily="34" charset="0"/>
            </a:endParaRPr>
          </a:p>
          <a:p>
            <a:r>
              <a:rPr lang="de-DE" sz="1400" b="1" dirty="0">
                <a:latin typeface="Arial" panose="020B0604020202020204" pitchFamily="34" charset="0"/>
                <a:cs typeface="Arial" panose="020B0604020202020204" pitchFamily="34" charset="0"/>
              </a:rPr>
              <a:t>	Bitte prüfen Sie vor einer Kontaktaufnahme Ihres Kunden per Telefon oder per E-Mail 	immer, ob eine gültige Werbeeinwilligung des Kunden vorliegt oder ob er bei Ansprache </a:t>
            </a:r>
            <a:br>
              <a:rPr lang="de-DE" sz="1400" b="1" dirty="0">
                <a:latin typeface="Arial" panose="020B0604020202020204" pitchFamily="34" charset="0"/>
                <a:cs typeface="Arial" panose="020B0604020202020204" pitchFamily="34" charset="0"/>
              </a:rPr>
            </a:br>
            <a:r>
              <a:rPr lang="de-DE" sz="1400" b="1" dirty="0">
                <a:latin typeface="Arial" panose="020B0604020202020204" pitchFamily="34" charset="0"/>
                <a:cs typeface="Arial" panose="020B0604020202020204" pitchFamily="34" charset="0"/>
              </a:rPr>
              <a:t>	über Brief eine Werbesperre hinterlegt hat.</a:t>
            </a:r>
            <a:endParaRPr lang="de-DE" sz="1400" dirty="0">
              <a:latin typeface="Arial" panose="020B0604020202020204" pitchFamily="34" charset="0"/>
              <a:cs typeface="Arial" panose="020B0604020202020204" pitchFamily="34" charset="0"/>
            </a:endParaRPr>
          </a:p>
          <a:p>
            <a:pPr defTabSz="169992">
              <a:spcBef>
                <a:spcPts val="94"/>
              </a:spcBef>
              <a:spcAft>
                <a:spcPts val="94"/>
              </a:spcAft>
            </a:pPr>
            <a:endParaRPr lang="de-DE" sz="1400" dirty="0">
              <a:solidFill>
                <a:srgbClr val="003781"/>
              </a:solidFill>
              <a:latin typeface="Arial" panose="020B0604020202020204" pitchFamily="34" charset="0"/>
              <a:cs typeface="Arial" panose="020B0604020202020204" pitchFamily="34" charset="0"/>
            </a:endParaRPr>
          </a:p>
        </p:txBody>
      </p:sp>
      <p:sp>
        <p:nvSpPr>
          <p:cNvPr id="44" name="Textfeld 43"/>
          <p:cNvSpPr txBox="1"/>
          <p:nvPr/>
        </p:nvSpPr>
        <p:spPr>
          <a:xfrm>
            <a:off x="244476" y="1167522"/>
            <a:ext cx="306113" cy="428117"/>
          </a:xfrm>
          <a:prstGeom prst="rect">
            <a:avLst/>
          </a:prstGeom>
        </p:spPr>
        <p:txBody>
          <a:bodyPr vert="horz" wrap="square" lIns="68018" tIns="68018" rIns="68018" bIns="68018" rtlCol="0">
            <a:spAutoFit/>
          </a:bodyPr>
          <a:lstStyle/>
          <a:p>
            <a:pPr marL="0" marR="0" lvl="0" indent="0" algn="l" defTabSz="1151750" rtl="0" eaLnBrk="1" fontAlgn="auto" latinLnBrk="0" hangingPunct="1">
              <a:lnSpc>
                <a:spcPct val="100000"/>
              </a:lnSpc>
              <a:spcBef>
                <a:spcPts val="0"/>
              </a:spcBef>
              <a:spcAft>
                <a:spcPts val="0"/>
              </a:spcAft>
              <a:buClrTx/>
              <a:buSzTx/>
              <a:buFontTx/>
              <a:buNone/>
              <a:tabLst/>
              <a:defRPr/>
            </a:pPr>
            <a:r>
              <a:rPr kumimoji="0" lang="de-DE" sz="1889" b="0" i="0" u="none" strike="noStrike" kern="1200" cap="none" spc="0" normalizeH="0" baseline="0" noProof="0" dirty="0">
                <a:ln>
                  <a:noFill/>
                </a:ln>
                <a:solidFill>
                  <a:srgbClr val="FFFFFF"/>
                </a:solidFill>
                <a:effectLst/>
                <a:uLnTx/>
                <a:uFillTx/>
                <a:latin typeface="Arial"/>
                <a:ea typeface="+mn-ea"/>
                <a:cs typeface="+mn-cs"/>
              </a:rPr>
              <a:t>§</a:t>
            </a:r>
          </a:p>
        </p:txBody>
      </p:sp>
      <p:sp>
        <p:nvSpPr>
          <p:cNvPr id="15"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rial" panose="020B0604020202020204" pitchFamily="34" charset="0"/>
                <a:cs typeface="Arial" panose="020B0604020202020204" pitchFamily="34" charset="0"/>
              </a:rPr>
              <a:pPr marL="0" marR="0" lvl="0" indent="0" algn="l" defTabSz="864017" rtl="0" eaLnBrk="1" fontAlgn="auto" latinLnBrk="0" hangingPunct="1">
                <a:lnSpc>
                  <a:spcPct val="100000"/>
                </a:lnSpc>
                <a:spcBef>
                  <a:spcPts val="0"/>
                </a:spcBef>
                <a:spcAft>
                  <a:spcPts val="0"/>
                </a:spcAft>
                <a:buClrTx/>
                <a:buSzTx/>
                <a:buFontTx/>
                <a:buNone/>
                <a:tabLst/>
                <a:defRPr/>
              </a:pPr>
              <a:t>14</a:t>
            </a:fld>
            <a:endParaRPr kumimoji="0" lang="en-GB" sz="750" b="1" i="0" u="none" strike="noStrike" kern="1200" cap="none" spc="0" normalizeH="0" baseline="0" noProof="0">
              <a:ln>
                <a:noFill/>
              </a:ln>
              <a:solidFill>
                <a:srgbClr val="003781"/>
              </a:solidFill>
              <a:effectLst/>
              <a:uLnTx/>
              <a:uFillTx/>
              <a:latin typeface="Arial" panose="020B0604020202020204" pitchFamily="34" charset="0"/>
              <a:cs typeface="Arial" panose="020B0604020202020204" pitchFamily="34" charset="0"/>
            </a:endParaRPr>
          </a:p>
        </p:txBody>
      </p:sp>
      <p:sp>
        <p:nvSpPr>
          <p:cNvPr id="19"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llianz 2024</a:t>
            </a:r>
          </a:p>
        </p:txBody>
      </p:sp>
      <p:sp>
        <p:nvSpPr>
          <p:cNvPr id="20"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2" y="468000"/>
            <a:ext cx="6963265" cy="252000"/>
          </a:xfrm>
        </p:spPr>
        <p:txBody>
          <a:bodyPr/>
          <a:lstStyle/>
          <a:p>
            <a:pPr defTabSz="864006">
              <a:defRPr/>
            </a:pPr>
            <a:r>
              <a:rPr lang="de-DE" dirty="0">
                <a:solidFill>
                  <a:srgbClr val="003781"/>
                </a:solidFill>
                <a:latin typeface="+mj-lt"/>
                <a:cs typeface="Arial" panose="020B0604020202020204" pitchFamily="34" charset="0"/>
              </a:rPr>
              <a:t>Briefaktion: Förderung und Zuzahlung Einmalbeitragsgeschäft 2024 (</a:t>
            </a:r>
            <a:r>
              <a:rPr lang="de-DE" dirty="0"/>
              <a:t>22783</a:t>
            </a:r>
            <a:r>
              <a:rPr lang="de-DE" dirty="0">
                <a:solidFill>
                  <a:srgbClr val="003781"/>
                </a:solidFill>
                <a:latin typeface="+mj-lt"/>
                <a:cs typeface="Arial" panose="020B0604020202020204" pitchFamily="34" charset="0"/>
              </a:rPr>
              <a:t>)</a:t>
            </a:r>
          </a:p>
        </p:txBody>
      </p:sp>
      <p:sp>
        <p:nvSpPr>
          <p:cNvPr id="21" name="Textplatzhalter 2"/>
          <p:cNvSpPr txBox="1">
            <a:spLocks/>
          </p:cNvSpPr>
          <p:nvPr/>
        </p:nvSpPr>
        <p:spPr>
          <a:xfrm>
            <a:off x="482006" y="6088692"/>
            <a:ext cx="2870793" cy="131303"/>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p>
        </p:txBody>
      </p:sp>
      <p:sp>
        <p:nvSpPr>
          <p:cNvPr id="12" name="Rechteck 11"/>
          <p:cNvSpPr/>
          <p:nvPr/>
        </p:nvSpPr>
        <p:spPr>
          <a:xfrm>
            <a:off x="9220328" y="1689477"/>
            <a:ext cx="1630064" cy="3938322"/>
          </a:xfrm>
          <a:prstGeom prst="rect">
            <a:avLst/>
          </a:prstGeom>
          <a:noFill/>
        </p:spPr>
        <p:txBody>
          <a:bodyPr wrap="square">
            <a:spAutoFit/>
          </a:bodyPr>
          <a:lstStyle/>
          <a:p>
            <a:pPr marL="0" marR="0" lvl="0" indent="0" algn="ctr" defTabSz="863742" rtl="0" eaLnBrk="1" fontAlgn="auto" latinLnBrk="0" hangingPunct="1">
              <a:lnSpc>
                <a:spcPct val="100000"/>
              </a:lnSpc>
              <a:spcBef>
                <a:spcPts val="0"/>
              </a:spcBef>
              <a:spcAft>
                <a:spcPts val="0"/>
              </a:spcAft>
              <a:buClrTx/>
              <a:buSzTx/>
              <a:buFontTx/>
              <a:buNone/>
              <a:tabLst/>
              <a:defRPr/>
            </a:pPr>
            <a:r>
              <a:rPr kumimoji="0" lang="de-DE" sz="24992" b="0" i="0" u="none" strike="noStrike" kern="1200" cap="none" spc="0" normalizeH="0" baseline="0" noProof="0" dirty="0">
                <a:ln>
                  <a:noFill/>
                </a:ln>
                <a:solidFill>
                  <a:srgbClr val="C0D0FF"/>
                </a:solidFill>
                <a:effectLst/>
                <a:uLnTx/>
                <a:uFillTx/>
                <a:latin typeface="Arial" panose="020B0604020202020204" pitchFamily="34" charset="0"/>
                <a:cs typeface="Arial" panose="020B0604020202020204" pitchFamily="34" charset="0"/>
              </a:rPr>
              <a:t>§</a:t>
            </a:r>
          </a:p>
        </p:txBody>
      </p:sp>
      <p:grpSp>
        <p:nvGrpSpPr>
          <p:cNvPr id="11" name="Gruppieren 10">
            <a:extLst>
              <a:ext uri="{FF2B5EF4-FFF2-40B4-BE49-F238E27FC236}">
                <a16:creationId xmlns:a16="http://schemas.microsoft.com/office/drawing/2014/main" id="{725D6766-E903-4999-A826-992557535930}"/>
              </a:ext>
            </a:extLst>
          </p:cNvPr>
          <p:cNvGrpSpPr>
            <a:grpSpLocks noChangeAspect="1"/>
          </p:cNvGrpSpPr>
          <p:nvPr/>
        </p:nvGrpSpPr>
        <p:grpSpPr>
          <a:xfrm>
            <a:off x="662304" y="4406481"/>
            <a:ext cx="539621" cy="540000"/>
            <a:chOff x="10898718" y="2971740"/>
            <a:chExt cx="328296" cy="328528"/>
          </a:xfrm>
          <a:solidFill>
            <a:srgbClr val="FAB600"/>
          </a:solidFill>
        </p:grpSpPr>
        <p:sp>
          <p:nvSpPr>
            <p:cNvPr id="13" name="Freihandform 1775">
              <a:extLst>
                <a:ext uri="{FF2B5EF4-FFF2-40B4-BE49-F238E27FC236}">
                  <a16:creationId xmlns:a16="http://schemas.microsoft.com/office/drawing/2014/main" id="{63835935-1FD4-44D9-A7E3-37D1C429495F}"/>
                </a:ext>
              </a:extLst>
            </p:cNvPr>
            <p:cNvSpPr/>
            <p:nvPr/>
          </p:nvSpPr>
          <p:spPr>
            <a:xfrm>
              <a:off x="10898718" y="2971740"/>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solidFill>
                <a:schemeClr val="bg1"/>
              </a:solidFill>
              <a:prstDash val="solid"/>
            </a:ln>
          </p:spPr>
          <p:txBody>
            <a:bodyPr vert="horz" wrap="none" lIns="90000" tIns="45000" rIns="90000" bIns="45000"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llianz Neo" panose="020B0504020203020204" pitchFamily="34" charset="0"/>
                <a:ea typeface="Arial Unicode MS" pitchFamily="2"/>
                <a:cs typeface="Arial Unicode MS" pitchFamily="2"/>
              </a:endParaRPr>
            </a:p>
          </p:txBody>
        </p:sp>
        <p:sp>
          <p:nvSpPr>
            <p:cNvPr id="14" name="Freihandform 1776">
              <a:extLst>
                <a:ext uri="{FF2B5EF4-FFF2-40B4-BE49-F238E27FC236}">
                  <a16:creationId xmlns:a16="http://schemas.microsoft.com/office/drawing/2014/main" id="{E887B834-1767-4788-9EF2-C42C9C24A7DA}"/>
                </a:ext>
              </a:extLst>
            </p:cNvPr>
            <p:cNvSpPr/>
            <p:nvPr/>
          </p:nvSpPr>
          <p:spPr>
            <a:xfrm>
              <a:off x="10972060" y="3054163"/>
              <a:ext cx="181610" cy="163682"/>
            </a:xfrm>
            <a:custGeom>
              <a:avLst/>
              <a:gdLst/>
              <a:ahLst/>
              <a:cxnLst>
                <a:cxn ang="3cd4">
                  <a:pos x="hc" y="t"/>
                </a:cxn>
                <a:cxn ang="cd2">
                  <a:pos x="l" y="vc"/>
                </a:cxn>
                <a:cxn ang="cd4">
                  <a:pos x="hc" y="b"/>
                </a:cxn>
                <a:cxn ang="0">
                  <a:pos x="r" y="vc"/>
                </a:cxn>
              </a:cxnLst>
              <a:rect l="l" t="t" r="r" b="b"/>
              <a:pathLst>
                <a:path w="781" h="704">
                  <a:moveTo>
                    <a:pt x="743" y="662"/>
                  </a:moveTo>
                  <a:cubicBezTo>
                    <a:pt x="741" y="664"/>
                    <a:pt x="739" y="668"/>
                    <a:pt x="726" y="668"/>
                  </a:cubicBezTo>
                  <a:lnTo>
                    <a:pt x="55" y="668"/>
                  </a:lnTo>
                  <a:cubicBezTo>
                    <a:pt x="42" y="668"/>
                    <a:pt x="40" y="664"/>
                    <a:pt x="38" y="662"/>
                  </a:cubicBezTo>
                  <a:cubicBezTo>
                    <a:pt x="32" y="651"/>
                    <a:pt x="34" y="635"/>
                    <a:pt x="44" y="620"/>
                  </a:cubicBezTo>
                  <a:lnTo>
                    <a:pt x="370" y="50"/>
                  </a:lnTo>
                  <a:cubicBezTo>
                    <a:pt x="381" y="29"/>
                    <a:pt x="398" y="29"/>
                    <a:pt x="411" y="50"/>
                  </a:cubicBezTo>
                  <a:lnTo>
                    <a:pt x="737" y="620"/>
                  </a:lnTo>
                  <a:cubicBezTo>
                    <a:pt x="745" y="635"/>
                    <a:pt x="747" y="651"/>
                    <a:pt x="743" y="662"/>
                  </a:cubicBezTo>
                  <a:close/>
                  <a:moveTo>
                    <a:pt x="442" y="33"/>
                  </a:moveTo>
                  <a:cubicBezTo>
                    <a:pt x="417" y="-11"/>
                    <a:pt x="364" y="-11"/>
                    <a:pt x="339" y="33"/>
                  </a:cubicBezTo>
                  <a:lnTo>
                    <a:pt x="13" y="601"/>
                  </a:lnTo>
                  <a:cubicBezTo>
                    <a:pt x="-2" y="628"/>
                    <a:pt x="-4" y="658"/>
                    <a:pt x="8" y="679"/>
                  </a:cubicBezTo>
                  <a:cubicBezTo>
                    <a:pt x="17" y="696"/>
                    <a:pt x="34" y="704"/>
                    <a:pt x="55" y="704"/>
                  </a:cubicBezTo>
                  <a:lnTo>
                    <a:pt x="726" y="704"/>
                  </a:lnTo>
                  <a:cubicBezTo>
                    <a:pt x="747" y="704"/>
                    <a:pt x="764" y="696"/>
                    <a:pt x="773" y="679"/>
                  </a:cubicBezTo>
                  <a:cubicBezTo>
                    <a:pt x="785" y="658"/>
                    <a:pt x="783" y="628"/>
                    <a:pt x="768" y="601"/>
                  </a:cubicBezTo>
                  <a:close/>
                </a:path>
              </a:pathLst>
            </a:custGeom>
            <a:grpFill/>
            <a:ln cap="flat">
              <a:solidFill>
                <a:schemeClr val="bg1"/>
              </a:solidFill>
              <a:prstDash val="solid"/>
            </a:ln>
          </p:spPr>
          <p:txBody>
            <a:bodyPr vert="horz" wrap="none" lIns="90000" tIns="45000" rIns="90000" bIns="45000"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llianz Neo" panose="020B0504020203020204" pitchFamily="34" charset="0"/>
                <a:ea typeface="Arial Unicode MS" pitchFamily="2"/>
                <a:cs typeface="Arial Unicode MS" pitchFamily="2"/>
              </a:endParaRPr>
            </a:p>
          </p:txBody>
        </p:sp>
        <p:sp>
          <p:nvSpPr>
            <p:cNvPr id="16" name="Freihandform 1777">
              <a:extLst>
                <a:ext uri="{FF2B5EF4-FFF2-40B4-BE49-F238E27FC236}">
                  <a16:creationId xmlns:a16="http://schemas.microsoft.com/office/drawing/2014/main" id="{7A2CD851-06A3-4746-8793-D70F2FF734E7}"/>
                </a:ext>
              </a:extLst>
            </p:cNvPr>
            <p:cNvSpPr/>
            <p:nvPr/>
          </p:nvSpPr>
          <p:spPr>
            <a:xfrm>
              <a:off x="11058675" y="3111208"/>
              <a:ext cx="8149" cy="57510"/>
            </a:xfrm>
            <a:custGeom>
              <a:avLst/>
              <a:gdLst/>
              <a:ahLst/>
              <a:cxnLst>
                <a:cxn ang="3cd4">
                  <a:pos x="hc" y="t"/>
                </a:cxn>
                <a:cxn ang="cd2">
                  <a:pos x="l" y="vc"/>
                </a:cxn>
                <a:cxn ang="cd4">
                  <a:pos x="hc" y="b"/>
                </a:cxn>
                <a:cxn ang="0">
                  <a:pos x="r" y="vc"/>
                </a:cxn>
              </a:cxnLst>
              <a:rect l="l" t="t" r="r" b="b"/>
              <a:pathLst>
                <a:path w="36" h="248">
                  <a:moveTo>
                    <a:pt x="17" y="0"/>
                  </a:moveTo>
                  <a:cubicBezTo>
                    <a:pt x="9" y="0"/>
                    <a:pt x="0" y="9"/>
                    <a:pt x="0" y="19"/>
                  </a:cubicBezTo>
                  <a:lnTo>
                    <a:pt x="0" y="231"/>
                  </a:lnTo>
                  <a:cubicBezTo>
                    <a:pt x="0" y="239"/>
                    <a:pt x="9" y="248"/>
                    <a:pt x="17" y="248"/>
                  </a:cubicBezTo>
                  <a:cubicBezTo>
                    <a:pt x="28" y="248"/>
                    <a:pt x="36" y="239"/>
                    <a:pt x="36" y="231"/>
                  </a:cubicBezTo>
                  <a:lnTo>
                    <a:pt x="36" y="19"/>
                  </a:lnTo>
                  <a:cubicBezTo>
                    <a:pt x="36" y="9"/>
                    <a:pt x="28" y="0"/>
                    <a:pt x="17" y="0"/>
                  </a:cubicBezTo>
                  <a:close/>
                </a:path>
              </a:pathLst>
            </a:custGeom>
            <a:grpFill/>
            <a:ln cap="flat">
              <a:solidFill>
                <a:schemeClr val="bg1"/>
              </a:solidFill>
              <a:prstDash val="solid"/>
            </a:ln>
          </p:spPr>
          <p:txBody>
            <a:bodyPr vert="horz" wrap="none" lIns="90000" tIns="45000" rIns="90000" bIns="45000"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llianz Neo" panose="020B0504020203020204" pitchFamily="34" charset="0"/>
                <a:ea typeface="Arial Unicode MS" pitchFamily="2"/>
                <a:cs typeface="Arial Unicode MS" pitchFamily="2"/>
              </a:endParaRPr>
            </a:p>
          </p:txBody>
        </p:sp>
        <p:sp>
          <p:nvSpPr>
            <p:cNvPr id="18" name="Freihandform 1778">
              <a:extLst>
                <a:ext uri="{FF2B5EF4-FFF2-40B4-BE49-F238E27FC236}">
                  <a16:creationId xmlns:a16="http://schemas.microsoft.com/office/drawing/2014/main" id="{3D8B5E55-2675-4A65-B623-8B8260DD362B}"/>
                </a:ext>
              </a:extLst>
            </p:cNvPr>
            <p:cNvSpPr/>
            <p:nvPr/>
          </p:nvSpPr>
          <p:spPr>
            <a:xfrm>
              <a:off x="11058675" y="3185249"/>
              <a:ext cx="8149" cy="8149"/>
            </a:xfrm>
            <a:custGeom>
              <a:avLst/>
              <a:gdLst/>
              <a:ahLst/>
              <a:cxnLst>
                <a:cxn ang="3cd4">
                  <a:pos x="hc" y="t"/>
                </a:cxn>
                <a:cxn ang="cd2">
                  <a:pos x="l" y="vc"/>
                </a:cxn>
                <a:cxn ang="cd4">
                  <a:pos x="hc" y="b"/>
                </a:cxn>
                <a:cxn ang="0">
                  <a:pos x="r" y="vc"/>
                </a:cxn>
              </a:cxnLst>
              <a:rect l="l" t="t" r="r" b="b"/>
              <a:pathLst>
                <a:path w="36" h="36">
                  <a:moveTo>
                    <a:pt x="17" y="0"/>
                  </a:moveTo>
                  <a:cubicBezTo>
                    <a:pt x="9" y="0"/>
                    <a:pt x="0" y="8"/>
                    <a:pt x="0" y="19"/>
                  </a:cubicBezTo>
                  <a:cubicBezTo>
                    <a:pt x="0" y="27"/>
                    <a:pt x="9" y="36"/>
                    <a:pt x="17" y="36"/>
                  </a:cubicBezTo>
                  <a:cubicBezTo>
                    <a:pt x="28" y="36"/>
                    <a:pt x="36" y="27"/>
                    <a:pt x="36" y="19"/>
                  </a:cubicBezTo>
                  <a:cubicBezTo>
                    <a:pt x="36" y="8"/>
                    <a:pt x="28" y="0"/>
                    <a:pt x="17" y="0"/>
                  </a:cubicBezTo>
                  <a:close/>
                </a:path>
              </a:pathLst>
            </a:custGeom>
            <a:grpFill/>
            <a:ln cap="flat">
              <a:solidFill>
                <a:schemeClr val="bg1"/>
              </a:solidFill>
              <a:prstDash val="solid"/>
            </a:ln>
          </p:spPr>
          <p:txBody>
            <a:bodyPr vert="horz" wrap="none" lIns="90000" tIns="45000" rIns="90000" bIns="45000"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llianz Neo" panose="020B0504020203020204" pitchFamily="34" charset="0"/>
                <a:ea typeface="Arial Unicode MS" pitchFamily="2"/>
                <a:cs typeface="Arial Unicode MS" pitchFamily="2"/>
              </a:endParaRPr>
            </a:p>
          </p:txBody>
        </p:sp>
      </p:grpSp>
    </p:spTree>
    <p:extLst>
      <p:ext uri="{BB962C8B-B14F-4D97-AF65-F5344CB8AC3E}">
        <p14:creationId xmlns:p14="http://schemas.microsoft.com/office/powerpoint/2010/main" val="3283531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2" cstate="print">
            <a:extLst>
              <a:ext uri="{28A0092B-C50C-407E-A947-70E740481C1C}">
                <a14:useLocalDpi xmlns:a14="http://schemas.microsoft.com/office/drawing/2010/main" val="0"/>
              </a:ext>
            </a:extLst>
          </a:blip>
          <a:srcRect l="21417" r="27898"/>
          <a:stretch/>
        </p:blipFill>
        <p:spPr>
          <a:xfrm>
            <a:off x="7532127" y="0"/>
            <a:ext cx="3986185" cy="6480175"/>
          </a:xfrm>
          <a:prstGeom prst="rect">
            <a:avLst/>
          </a:prstGeom>
        </p:spPr>
      </p:pic>
      <p:sp>
        <p:nvSpPr>
          <p:cNvPr id="9" name="Foliennummernplatzhalter 8"/>
          <p:cNvSpPr>
            <a:spLocks noGrp="1"/>
          </p:cNvSpPr>
          <p:nvPr>
            <p:ph type="sldNum" sz="quarter" idx="4294967295"/>
          </p:nvPr>
        </p:nvSpPr>
        <p:spPr>
          <a:xfrm>
            <a:off x="11052175" y="5653088"/>
            <a:ext cx="468313" cy="827087"/>
          </a:xfrm>
        </p:spPr>
        <p:txBody>
          <a:bodyPr/>
          <a:lstStyle/>
          <a:p>
            <a:fld id="{61201FF1-C63B-412E-ABF0-3D0E918900AC}" type="slidenum">
              <a:rPr lang="en-GB" smtClean="0"/>
              <a:pPr/>
              <a:t>2</a:t>
            </a:fld>
            <a:endParaRPr lang="en-GB"/>
          </a:p>
        </p:txBody>
      </p:sp>
      <p:sp>
        <p:nvSpPr>
          <p:cNvPr id="15" name="Textplatzhalter 3">
            <a:extLst>
              <a:ext uri="{FF2B5EF4-FFF2-40B4-BE49-F238E27FC236}">
                <a16:creationId xmlns:a16="http://schemas.microsoft.com/office/drawing/2014/main" id="{8A84A691-CD2D-164A-86D4-9CBC2CD59C09}"/>
              </a:ext>
            </a:extLst>
          </p:cNvPr>
          <p:cNvSpPr txBox="1">
            <a:spLocks/>
          </p:cNvSpPr>
          <p:nvPr/>
        </p:nvSpPr>
        <p:spPr>
          <a:xfrm>
            <a:off x="482009" y="2776464"/>
            <a:ext cx="4768731" cy="1156454"/>
          </a:xfrm>
          <a:prstGeom prst="rect">
            <a:avLst/>
          </a:prstGeom>
        </p:spPr>
        <p:txBody>
          <a:bodyPr lIns="136035" tIns="136035" rIns="136035" bIns="0" anchor="t">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4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4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0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0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8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endParaRPr lang="en-GB" sz="1323"/>
          </a:p>
        </p:txBody>
      </p:sp>
      <p:sp>
        <p:nvSpPr>
          <p:cNvPr id="41" name="Rechteck 40">
            <a:extLst>
              <a:ext uri="{FF2B5EF4-FFF2-40B4-BE49-F238E27FC236}">
                <a16:creationId xmlns:a16="http://schemas.microsoft.com/office/drawing/2014/main" id="{B8303F0C-BCB4-534B-AE03-5C03CD5304CE}"/>
              </a:ext>
            </a:extLst>
          </p:cNvPr>
          <p:cNvSpPr/>
          <p:nvPr/>
        </p:nvSpPr>
        <p:spPr>
          <a:xfrm>
            <a:off x="482007" y="4117357"/>
            <a:ext cx="3502906" cy="1700440"/>
          </a:xfrm>
          <a:prstGeom prst="rect">
            <a:avLst/>
          </a:prstGeom>
          <a:solidFill>
            <a:schemeClr val="bg1">
              <a:alpha val="20000"/>
            </a:schemeClr>
          </a:solidFill>
          <a:ln>
            <a:no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lvl="0" algn="ctr"/>
            <a:r>
              <a:rPr lang="de-DE" sz="1512" b="1" dirty="0">
                <a:solidFill>
                  <a:schemeClr val="bg1"/>
                </a:solidFill>
              </a:rPr>
              <a:t>Hilfreiche Informationen zum Vertrag</a:t>
            </a:r>
            <a:endParaRPr lang="de-DE" sz="1134" b="1" dirty="0">
              <a:solidFill>
                <a:schemeClr val="bg1"/>
              </a:solidFill>
            </a:endParaRPr>
          </a:p>
          <a:p>
            <a:pPr algn="ctr"/>
            <a:endParaRPr lang="de-DE" sz="992" dirty="0">
              <a:solidFill>
                <a:schemeClr val="bg1"/>
              </a:solidFill>
            </a:endParaRPr>
          </a:p>
          <a:p>
            <a:pPr algn="ctr"/>
            <a:r>
              <a:rPr lang="de-DE" sz="992" dirty="0">
                <a:solidFill>
                  <a:schemeClr val="bg1"/>
                </a:solidFill>
              </a:rPr>
              <a:t>Im ACA stehen Ihnen zahlreiche Sortier- und Filterfelder sowie weiterführende Vertragsinformationen zur Verfügung, z.B. Infos zu Zuzahlungen und Entnahmen.</a:t>
            </a:r>
          </a:p>
        </p:txBody>
      </p:sp>
      <p:sp>
        <p:nvSpPr>
          <p:cNvPr id="57" name="Rechteck 56">
            <a:extLst>
              <a:ext uri="{FF2B5EF4-FFF2-40B4-BE49-F238E27FC236}">
                <a16:creationId xmlns:a16="http://schemas.microsoft.com/office/drawing/2014/main" id="{373CECB8-A722-2D4C-BEA8-F9CB440202B6}"/>
              </a:ext>
            </a:extLst>
          </p:cNvPr>
          <p:cNvSpPr/>
          <p:nvPr/>
        </p:nvSpPr>
        <p:spPr>
          <a:xfrm>
            <a:off x="482007" y="2352913"/>
            <a:ext cx="3502906" cy="1700440"/>
          </a:xfrm>
          <a:prstGeom prst="rect">
            <a:avLst/>
          </a:prstGeom>
          <a:solidFill>
            <a:schemeClr val="bg1">
              <a:alpha val="20000"/>
            </a:schemeClr>
          </a:solidFill>
          <a:ln>
            <a:no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lvl="0" algn="ctr"/>
            <a:r>
              <a:rPr lang="de-DE" sz="1512" b="1" dirty="0">
                <a:solidFill>
                  <a:schemeClr val="bg1"/>
                </a:solidFill>
              </a:rPr>
              <a:t>Weiter hoher Anlagebedarf beim Kunden</a:t>
            </a:r>
          </a:p>
          <a:p>
            <a:pPr lvl="0" algn="ctr"/>
            <a:endParaRPr lang="de-DE" sz="1323" b="1" dirty="0">
              <a:solidFill>
                <a:schemeClr val="bg1"/>
              </a:solidFill>
            </a:endParaRPr>
          </a:p>
          <a:p>
            <a:pPr lvl="0" algn="ctr"/>
            <a:r>
              <a:rPr lang="de-DE" sz="992" dirty="0">
                <a:solidFill>
                  <a:schemeClr val="bg1"/>
                </a:solidFill>
              </a:rPr>
              <a:t>Im geänderten Zinsumfeld suchen Kunden nach passenden Lösungen. Die Einmalbeitragsprodukte der Allianz bieten hier passende Lösungen für kurz-, mittel- und langfristige Geldanlage – zu attraktiven Zinsen und der Sicherheit von Allianz Leben.</a:t>
            </a:r>
          </a:p>
        </p:txBody>
      </p:sp>
      <p:sp>
        <p:nvSpPr>
          <p:cNvPr id="4" name="Rechteck 3">
            <a:extLst>
              <a:ext uri="{FF2B5EF4-FFF2-40B4-BE49-F238E27FC236}">
                <a16:creationId xmlns:a16="http://schemas.microsoft.com/office/drawing/2014/main" id="{AB7EFCCF-C30C-CE46-91C2-F5C6000CF7E7}"/>
              </a:ext>
            </a:extLst>
          </p:cNvPr>
          <p:cNvSpPr/>
          <p:nvPr/>
        </p:nvSpPr>
        <p:spPr>
          <a:xfrm>
            <a:off x="1795816" y="2280719"/>
            <a:ext cx="875288" cy="1889895"/>
          </a:xfrm>
          <a:prstGeom prst="rect">
            <a:avLst/>
          </a:prstGeom>
        </p:spPr>
        <p:txBody>
          <a:bodyPr wrap="none" lIns="0" tIns="0" rIns="0" bIns="0" anchor="t" anchorCtr="0">
            <a:noAutofit/>
          </a:bodyPr>
          <a:lstStyle/>
          <a:p>
            <a:pPr algn="ctr"/>
            <a:r>
              <a:rPr lang="de-DE" sz="12281" b="1" dirty="0">
                <a:solidFill>
                  <a:schemeClr val="bg1">
                    <a:alpha val="16000"/>
                  </a:schemeClr>
                </a:solidFill>
              </a:rPr>
              <a:t>1</a:t>
            </a:r>
          </a:p>
        </p:txBody>
      </p:sp>
      <p:sp>
        <p:nvSpPr>
          <p:cNvPr id="26" name="Rechteck 25">
            <a:extLst>
              <a:ext uri="{FF2B5EF4-FFF2-40B4-BE49-F238E27FC236}">
                <a16:creationId xmlns:a16="http://schemas.microsoft.com/office/drawing/2014/main" id="{3B1DDB78-9FFA-3747-9CA3-A9F2757331D1}"/>
              </a:ext>
            </a:extLst>
          </p:cNvPr>
          <p:cNvSpPr/>
          <p:nvPr/>
        </p:nvSpPr>
        <p:spPr>
          <a:xfrm>
            <a:off x="5374667" y="2280719"/>
            <a:ext cx="875288" cy="1889895"/>
          </a:xfrm>
          <a:prstGeom prst="rect">
            <a:avLst/>
          </a:prstGeom>
        </p:spPr>
        <p:txBody>
          <a:bodyPr wrap="none" lIns="0" tIns="0" rIns="0" bIns="0" anchor="t" anchorCtr="0">
            <a:noAutofit/>
          </a:bodyPr>
          <a:lstStyle/>
          <a:p>
            <a:pPr algn="ctr"/>
            <a:r>
              <a:rPr lang="de-DE" sz="12281" b="1">
                <a:solidFill>
                  <a:schemeClr val="bg1">
                    <a:alpha val="16000"/>
                  </a:schemeClr>
                </a:solidFill>
              </a:rPr>
              <a:t>2</a:t>
            </a:r>
          </a:p>
        </p:txBody>
      </p:sp>
      <p:sp>
        <p:nvSpPr>
          <p:cNvPr id="32" name="Rechteck 31">
            <a:extLst>
              <a:ext uri="{FF2B5EF4-FFF2-40B4-BE49-F238E27FC236}">
                <a16:creationId xmlns:a16="http://schemas.microsoft.com/office/drawing/2014/main" id="{8C63BE07-F754-9440-8448-40517F976BEB}"/>
              </a:ext>
            </a:extLst>
          </p:cNvPr>
          <p:cNvSpPr/>
          <p:nvPr/>
        </p:nvSpPr>
        <p:spPr>
          <a:xfrm>
            <a:off x="1795816" y="4022629"/>
            <a:ext cx="875288" cy="1889895"/>
          </a:xfrm>
          <a:prstGeom prst="rect">
            <a:avLst/>
          </a:prstGeom>
        </p:spPr>
        <p:txBody>
          <a:bodyPr wrap="none" lIns="0" tIns="0" rIns="0" bIns="0" anchor="t" anchorCtr="0">
            <a:noAutofit/>
          </a:bodyPr>
          <a:lstStyle/>
          <a:p>
            <a:pPr algn="ctr"/>
            <a:r>
              <a:rPr lang="de-DE" sz="12281" b="1">
                <a:solidFill>
                  <a:schemeClr val="bg1">
                    <a:alpha val="16000"/>
                  </a:schemeClr>
                </a:solidFill>
              </a:rPr>
              <a:t>3</a:t>
            </a:r>
          </a:p>
        </p:txBody>
      </p:sp>
      <p:sp>
        <p:nvSpPr>
          <p:cNvPr id="33" name="Rechteck 32">
            <a:extLst>
              <a:ext uri="{FF2B5EF4-FFF2-40B4-BE49-F238E27FC236}">
                <a16:creationId xmlns:a16="http://schemas.microsoft.com/office/drawing/2014/main" id="{2BA3B72C-C74D-744B-86F2-7B97D527EF79}"/>
              </a:ext>
            </a:extLst>
          </p:cNvPr>
          <p:cNvSpPr/>
          <p:nvPr/>
        </p:nvSpPr>
        <p:spPr>
          <a:xfrm>
            <a:off x="5374667" y="4022629"/>
            <a:ext cx="875288" cy="1889895"/>
          </a:xfrm>
          <a:prstGeom prst="rect">
            <a:avLst/>
          </a:prstGeom>
        </p:spPr>
        <p:txBody>
          <a:bodyPr wrap="none" lIns="0" tIns="0" rIns="0" bIns="0" anchor="t" anchorCtr="0">
            <a:noAutofit/>
          </a:bodyPr>
          <a:lstStyle/>
          <a:p>
            <a:pPr algn="ctr"/>
            <a:r>
              <a:rPr lang="de-DE" sz="12281" b="1">
                <a:solidFill>
                  <a:schemeClr val="bg1">
                    <a:alpha val="16000"/>
                  </a:schemeClr>
                </a:solidFill>
              </a:rPr>
              <a:t>4</a:t>
            </a:r>
          </a:p>
        </p:txBody>
      </p:sp>
      <p:sp>
        <p:nvSpPr>
          <p:cNvPr id="39" name="Datumsplatzhalter 2">
            <a:extLst>
              <a:ext uri="{FF2B5EF4-FFF2-40B4-BE49-F238E27FC236}">
                <a16:creationId xmlns:a16="http://schemas.microsoft.com/office/drawing/2014/main" id="{60C61B79-E312-4448-B0E3-3820A7ABF130}"/>
              </a:ext>
            </a:extLst>
          </p:cNvPr>
          <p:cNvSpPr txBox="1">
            <a:spLocks/>
          </p:cNvSpPr>
          <p:nvPr/>
        </p:nvSpPr>
        <p:spPr>
          <a:xfrm>
            <a:off x="971989" y="6135185"/>
            <a:ext cx="1234570" cy="116314"/>
          </a:xfrm>
          <a:prstGeom prst="rect">
            <a:avLst/>
          </a:prstGeom>
        </p:spPr>
        <p:txBody>
          <a:bodyPr wrap="square" lIns="0" tIns="0" rIns="0" bIns="0">
            <a:spAutoFit/>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fld id="{95E19A88-88A8-234F-AD5E-F2E5D5A20D26}" type="datetime1">
              <a:rPr lang="de-DE" sz="756"/>
              <a:pPr/>
              <a:t>17.05.2024</a:t>
            </a:fld>
            <a:endParaRPr lang="en-GB" sz="756"/>
          </a:p>
        </p:txBody>
      </p:sp>
      <p:sp>
        <p:nvSpPr>
          <p:cNvPr id="25"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r>
              <a:rPr lang="de-DE" sz="900">
                <a:solidFill>
                  <a:schemeClr val="bg1"/>
                </a:solidFill>
              </a:rPr>
              <a:t>Allianz Kunde und Markt - Multikanalmarketing</a:t>
            </a:r>
          </a:p>
        </p:txBody>
      </p:sp>
      <p:sp>
        <p:nvSpPr>
          <p:cNvPr id="18" name="Rechteck 17"/>
          <p:cNvSpPr/>
          <p:nvPr/>
        </p:nvSpPr>
        <p:spPr>
          <a:xfrm>
            <a:off x="7483447" y="0"/>
            <a:ext cx="2181017" cy="6480175"/>
          </a:xfrm>
          <a:prstGeom prst="rect">
            <a:avLst/>
          </a:prstGeom>
          <a:gradFill>
            <a:gsLst>
              <a:gs pos="0">
                <a:srgbClr val="FFFFFF"/>
              </a:gs>
              <a:gs pos="100000">
                <a:srgbClr val="FFFFFF">
                  <a:alpha val="0"/>
                </a:srgbClr>
              </a:gs>
            </a:gsLst>
            <a:lin ang="0" scaled="0"/>
          </a:gra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defTabSz="1219170" eaLnBrk="1" fontAlgn="auto" latinLnBrk="0" hangingPunct="1">
              <a:lnSpc>
                <a:spcPct val="100000"/>
              </a:lnSpc>
              <a:spcBef>
                <a:spcPts val="100"/>
              </a:spcBef>
              <a:spcAft>
                <a:spcPts val="100"/>
              </a:spcAft>
              <a:buClrTx/>
              <a:buSzTx/>
              <a:buFontTx/>
              <a:buNone/>
              <a:tabLst/>
              <a:defRPr/>
            </a:pPr>
            <a:endParaRPr kumimoji="0" lang="de-DE" sz="1400" b="0" i="0" u="none" strike="noStrike" kern="0" cap="none" spc="0" normalizeH="0" baseline="0" noProof="0">
              <a:ln>
                <a:noFill/>
              </a:ln>
              <a:solidFill>
                <a:srgbClr val="000000"/>
              </a:solidFill>
              <a:effectLst/>
              <a:uLnTx/>
              <a:uFillTx/>
              <a:latin typeface="Arial"/>
            </a:endParaRPr>
          </a:p>
        </p:txBody>
      </p:sp>
      <p:sp>
        <p:nvSpPr>
          <p:cNvPr id="27"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94058" y="3726657"/>
            <a:ext cx="3384550" cy="468312"/>
          </a:xfrm>
        </p:spPr>
        <p:txBody>
          <a:bodyPr/>
          <a:lstStyle/>
          <a:p>
            <a:r>
              <a:rPr lang="de-DE" dirty="0"/>
              <a:t>© Allianz 2024</a:t>
            </a:r>
          </a:p>
        </p:txBody>
      </p:sp>
      <p:sp>
        <p:nvSpPr>
          <p:cNvPr id="28" name="Rechteck 27">
            <a:extLst>
              <a:ext uri="{FF2B5EF4-FFF2-40B4-BE49-F238E27FC236}">
                <a16:creationId xmlns:a16="http://schemas.microsoft.com/office/drawing/2014/main" id="{386D4B4A-BAB2-0C4C-BDDB-EF3BDFEB3F6C}"/>
              </a:ext>
            </a:extLst>
          </p:cNvPr>
          <p:cNvSpPr/>
          <p:nvPr/>
        </p:nvSpPr>
        <p:spPr>
          <a:xfrm>
            <a:off x="4060207" y="2355709"/>
            <a:ext cx="3502906" cy="1700440"/>
          </a:xfrm>
          <a:prstGeom prst="rect">
            <a:avLst/>
          </a:prstGeom>
          <a:solidFill>
            <a:schemeClr val="bg1">
              <a:alpha val="20000"/>
            </a:schemeClr>
          </a:solidFill>
          <a:ln>
            <a:no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algn="ctr"/>
            <a:r>
              <a:rPr lang="de-DE" sz="1512" b="1" dirty="0">
                <a:solidFill>
                  <a:schemeClr val="bg1"/>
                </a:solidFill>
              </a:rPr>
              <a:t>Zwei Optionen zur Kundenansprache</a:t>
            </a:r>
          </a:p>
          <a:p>
            <a:pPr algn="ctr"/>
            <a:endParaRPr lang="de-DE" sz="1323" b="1" dirty="0">
              <a:solidFill>
                <a:schemeClr val="bg1"/>
              </a:solidFill>
            </a:endParaRPr>
          </a:p>
          <a:p>
            <a:pPr lvl="0" algn="ctr"/>
            <a:r>
              <a:rPr lang="de-DE" sz="992" dirty="0">
                <a:solidFill>
                  <a:schemeClr val="bg1"/>
                </a:solidFill>
              </a:rPr>
              <a:t>Im ACA stehen Ihnen zwei Zielgruppen zur Ansprache zur Verfügung. Sie haben entsprechend die Möglichkeit, Kunden auf eine Zuzahlung im Bestandsvertrag anzusprechen oder Kunden, die keine Zuzahlung machen können zu einem Neuabschluss eines Einmalbeitragsproduktes zu beraten (Cross-Selling-Gedanke).</a:t>
            </a:r>
          </a:p>
        </p:txBody>
      </p:sp>
      <p:sp>
        <p:nvSpPr>
          <p:cNvPr id="2" name="Title 1"/>
          <p:cNvSpPr>
            <a:spLocks noGrp="1"/>
          </p:cNvSpPr>
          <p:nvPr>
            <p:ph type="title"/>
          </p:nvPr>
        </p:nvSpPr>
        <p:spPr>
          <a:xfrm>
            <a:off x="468314" y="1066799"/>
            <a:ext cx="10367962" cy="900114"/>
          </a:xfrm>
        </p:spPr>
        <p:txBody>
          <a:bodyPr/>
          <a:lstStyle/>
          <a:p>
            <a:r>
              <a:rPr lang="de-DE" sz="4800" dirty="0"/>
              <a:t>4 gute Gründe, </a:t>
            </a:r>
            <a:r>
              <a:rPr lang="de-DE" sz="4725" dirty="0">
                <a:solidFill>
                  <a:srgbClr val="13A0D3"/>
                </a:solidFill>
                <a:latin typeface="+mj-lt"/>
                <a:cs typeface="Arial" panose="020B0604020202020204" pitchFamily="34" charset="0"/>
              </a:rPr>
              <a:t>warum der Ansprache- Anlass Ihnen weiterhilft</a:t>
            </a:r>
          </a:p>
        </p:txBody>
      </p:sp>
      <p:sp>
        <p:nvSpPr>
          <p:cNvPr id="53" name="Rechteck 52">
            <a:extLst>
              <a:ext uri="{FF2B5EF4-FFF2-40B4-BE49-F238E27FC236}">
                <a16:creationId xmlns:a16="http://schemas.microsoft.com/office/drawing/2014/main" id="{E5852AF5-81F8-A849-ADEB-6046C01E5F27}"/>
              </a:ext>
            </a:extLst>
          </p:cNvPr>
          <p:cNvSpPr/>
          <p:nvPr/>
        </p:nvSpPr>
        <p:spPr>
          <a:xfrm>
            <a:off x="4060858" y="4117357"/>
            <a:ext cx="3502906" cy="1700440"/>
          </a:xfrm>
          <a:prstGeom prst="rect">
            <a:avLst/>
          </a:prstGeom>
          <a:solidFill>
            <a:schemeClr val="bg1">
              <a:alpha val="20000"/>
            </a:schemeClr>
          </a:solidFill>
          <a:ln>
            <a:no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lvl="0" algn="ctr"/>
            <a:r>
              <a:rPr lang="de-DE" sz="1512" b="1">
                <a:solidFill>
                  <a:schemeClr val="bg1"/>
                </a:solidFill>
              </a:rPr>
              <a:t>Einfache Zuzahlungsmöglichkeit für den Kunden </a:t>
            </a:r>
          </a:p>
          <a:p>
            <a:pPr lvl="0" algn="ctr"/>
            <a:r>
              <a:rPr lang="de-DE" sz="1134">
                <a:solidFill>
                  <a:schemeClr val="bg1"/>
                </a:solidFill>
              </a:rPr>
              <a:t> </a:t>
            </a:r>
            <a:r>
              <a:rPr lang="de-DE" sz="992">
                <a:solidFill>
                  <a:schemeClr val="bg1"/>
                </a:solidFill>
              </a:rPr>
              <a:t>Mit dem beiliegenden Überweisungsträger oder dem QR-Code zur Zuzahlung über die Banking-App des Kunden, klappt eine Zuzahlung schnell und einfach, ohne große Zeitaufwände.</a:t>
            </a:r>
          </a:p>
        </p:txBody>
      </p:sp>
      <p:sp>
        <p:nvSpPr>
          <p:cNvPr id="22"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8382071" cy="252000"/>
          </a:xfrm>
        </p:spPr>
        <p:txBody>
          <a:bodyPr/>
          <a:lstStyle/>
          <a:p>
            <a:pPr defTabSz="864006">
              <a:defRPr/>
            </a:pPr>
            <a:r>
              <a:rPr lang="de-DE" dirty="0">
                <a:solidFill>
                  <a:srgbClr val="003781"/>
                </a:solidFill>
                <a:latin typeface="+mj-lt"/>
                <a:cs typeface="Arial" panose="020B0604020202020204" pitchFamily="34" charset="0"/>
              </a:rPr>
              <a:t>Briefaktion: Förderung und Zuzahlung Einmalbeitragsgeschäft 2024 (</a:t>
            </a:r>
            <a:r>
              <a:rPr lang="de-DE" dirty="0"/>
              <a:t>22783</a:t>
            </a:r>
            <a:r>
              <a:rPr lang="de-DE" dirty="0">
                <a:solidFill>
                  <a:srgbClr val="003781"/>
                </a:solidFill>
                <a:latin typeface="+mj-lt"/>
                <a:cs typeface="Arial" panose="020B0604020202020204" pitchFamily="34" charset="0"/>
              </a:rPr>
              <a:t>)</a:t>
            </a:r>
          </a:p>
        </p:txBody>
      </p:sp>
    </p:spTree>
    <p:extLst>
      <p:ext uri="{BB962C8B-B14F-4D97-AF65-F5344CB8AC3E}">
        <p14:creationId xmlns:p14="http://schemas.microsoft.com/office/powerpoint/2010/main" val="2746217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93974" y="4009123"/>
            <a:ext cx="3384550" cy="468305"/>
          </a:xfrm>
        </p:spPr>
        <p:txBody>
          <a:bodyPr/>
          <a:lstStyle/>
          <a:p>
            <a:pPr defTabSz="864006">
              <a:defRPr/>
            </a:pPr>
            <a:r>
              <a:rPr lang="de-DE" dirty="0">
                <a:solidFill>
                  <a:srgbClr val="003781"/>
                </a:solidFill>
                <a:latin typeface="+mj-lt"/>
                <a:cs typeface="Arial" panose="020B0604020202020204" pitchFamily="34" charset="0"/>
              </a:rPr>
              <a:t>© Allianz 2024</a:t>
            </a: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93" y="468043"/>
            <a:ext cx="9128613" cy="251996"/>
          </a:xfrm>
        </p:spPr>
        <p:txBody>
          <a:bodyPr/>
          <a:lstStyle/>
          <a:p>
            <a:pPr defTabSz="864006">
              <a:defRPr/>
            </a:pPr>
            <a:r>
              <a:rPr lang="de-DE" dirty="0">
                <a:solidFill>
                  <a:srgbClr val="003781"/>
                </a:solidFill>
                <a:latin typeface="+mj-lt"/>
                <a:cs typeface="Arial" panose="020B0604020202020204" pitchFamily="34" charset="0"/>
              </a:rPr>
              <a:t>Briefaktion: Förderung und Zuzahlung Einmalbeitragsgeschäft 2024 (</a:t>
            </a:r>
            <a:r>
              <a:rPr lang="de-DE" dirty="0"/>
              <a:t>22783</a:t>
            </a:r>
            <a:r>
              <a:rPr lang="de-DE" dirty="0">
                <a:solidFill>
                  <a:srgbClr val="003781"/>
                </a:solidFill>
                <a:latin typeface="+mj-lt"/>
                <a:cs typeface="Arial" panose="020B0604020202020204" pitchFamily="34" charset="0"/>
              </a:rPr>
              <a:t>)</a:t>
            </a:r>
          </a:p>
        </p:txBody>
      </p:sp>
      <p:sp>
        <p:nvSpPr>
          <p:cNvPr id="9" name="Foliennummernplatzhalter 8"/>
          <p:cNvSpPr>
            <a:spLocks noGrp="1"/>
          </p:cNvSpPr>
          <p:nvPr>
            <p:ph type="sldNum" sz="quarter" idx="12"/>
          </p:nvPr>
        </p:nvSpPr>
        <p:spPr/>
        <p:txBody>
          <a:bodyPr/>
          <a:lstStyle/>
          <a:p>
            <a:pPr defTabSz="864006">
              <a:defRPr/>
            </a:pPr>
            <a:fld id="{61201FF1-C63B-412E-ABF0-3D0E918900AC}" type="slidenum">
              <a:rPr lang="en-GB">
                <a:solidFill>
                  <a:srgbClr val="003781"/>
                </a:solidFill>
                <a:latin typeface="+mj-lt"/>
                <a:cs typeface="Arial" panose="020B0604020202020204" pitchFamily="34" charset="0"/>
              </a:rPr>
              <a:pPr defTabSz="864006">
                <a:defRPr/>
              </a:pPr>
              <a:t>3</a:t>
            </a:fld>
            <a:endParaRPr lang="en-GB">
              <a:solidFill>
                <a:srgbClr val="003781"/>
              </a:solidFill>
              <a:latin typeface="+mj-lt"/>
              <a:cs typeface="Arial" panose="020B0604020202020204" pitchFamily="34" charset="0"/>
            </a:endParaRPr>
          </a:p>
        </p:txBody>
      </p:sp>
      <p:sp>
        <p:nvSpPr>
          <p:cNvPr id="115" name="Title 1"/>
          <p:cNvSpPr>
            <a:spLocks noGrp="1"/>
          </p:cNvSpPr>
          <p:nvPr>
            <p:ph type="title"/>
          </p:nvPr>
        </p:nvSpPr>
        <p:spPr>
          <a:xfrm>
            <a:off x="468395" y="1152556"/>
            <a:ext cx="10367803" cy="900100"/>
          </a:xfrm>
        </p:spPr>
        <p:txBody>
          <a:bodyPr/>
          <a:lstStyle/>
          <a:p>
            <a:r>
              <a:rPr lang="de-DE" sz="4725">
                <a:latin typeface="+mj-lt"/>
                <a:cs typeface="Arial" panose="020B0604020202020204" pitchFamily="34" charset="0"/>
              </a:rPr>
              <a:t>Die Aktion </a:t>
            </a:r>
            <a:r>
              <a:rPr lang="de-DE" sz="4725">
                <a:solidFill>
                  <a:srgbClr val="13A0D3"/>
                </a:solidFill>
                <a:latin typeface="+mj-lt"/>
                <a:cs typeface="Arial" panose="020B0604020202020204" pitchFamily="34" charset="0"/>
              </a:rPr>
              <a:t>auf einen Blick</a:t>
            </a:r>
          </a:p>
        </p:txBody>
      </p:sp>
      <p:sp>
        <p:nvSpPr>
          <p:cNvPr id="16" name="Inhaltsplatzhalter 8">
            <a:extLst>
              <a:ext uri="{FF2B5EF4-FFF2-40B4-BE49-F238E27FC236}">
                <a16:creationId xmlns:a16="http://schemas.microsoft.com/office/drawing/2014/main" id="{CBE74906-FD3F-8729-1AED-80BD0B46CE5C}"/>
              </a:ext>
            </a:extLst>
          </p:cNvPr>
          <p:cNvSpPr txBox="1">
            <a:spLocks/>
          </p:cNvSpPr>
          <p:nvPr/>
        </p:nvSpPr>
        <p:spPr>
          <a:xfrm>
            <a:off x="856406" y="2070862"/>
            <a:ext cx="4680000" cy="1507331"/>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lvl="2" indent="0">
              <a:spcAft>
                <a:spcPts val="283"/>
              </a:spcAft>
              <a:buNone/>
            </a:pPr>
            <a:r>
              <a:rPr lang="de-DE" sz="1100" b="1" u="sng" dirty="0">
                <a:latin typeface="Allianz Neo" panose="020B0504020203020204" pitchFamily="34" charset="0"/>
                <a:cs typeface="Arial" panose="020B0604020202020204" pitchFamily="34" charset="0"/>
              </a:rPr>
              <a:t>Ziele der Aktion </a:t>
            </a:r>
          </a:p>
          <a:p>
            <a:pPr defTabSz="863910">
              <a:spcBef>
                <a:spcPts val="283"/>
              </a:spcBef>
              <a:spcAft>
                <a:spcPts val="378"/>
              </a:spcAft>
              <a:buClr>
                <a:srgbClr val="003781"/>
              </a:buClr>
              <a:defRPr/>
            </a:pPr>
            <a:r>
              <a:rPr lang="de-DE" altLang="de-DE" sz="1100" kern="0" dirty="0">
                <a:latin typeface="Allianz Neo" panose="020B0504020203020204" pitchFamily="34" charset="0"/>
                <a:cs typeface="Arial" panose="020B0604020202020204" pitchFamily="34" charset="0"/>
              </a:rPr>
              <a:t>Aktivierung Einmalbeitragsgeschäft Leben durch:</a:t>
            </a:r>
          </a:p>
          <a:p>
            <a:pPr marL="171448" indent="-171448" defTabSz="863910">
              <a:spcBef>
                <a:spcPts val="283"/>
              </a:spcBef>
              <a:spcAft>
                <a:spcPts val="283"/>
              </a:spcAft>
              <a:buClr>
                <a:srgbClr val="003781"/>
              </a:buClr>
              <a:buFont typeface="Arial" panose="020B0604020202020204" pitchFamily="34" charset="0"/>
              <a:buChar char="•"/>
              <a:defRPr/>
            </a:pPr>
            <a:r>
              <a:rPr lang="de-DE" altLang="de-DE" sz="1100" kern="0" dirty="0">
                <a:latin typeface="Allianz Neo" panose="020B0504020203020204" pitchFamily="34" charset="0"/>
                <a:cs typeface="Arial" panose="020B0604020202020204" pitchFamily="34" charset="0"/>
              </a:rPr>
              <a:t>Beratung zur </a:t>
            </a:r>
            <a:r>
              <a:rPr lang="de-DE" altLang="de-DE" sz="1100" b="1" kern="0" dirty="0">
                <a:latin typeface="Allianz Neo" panose="020B0504020203020204" pitchFamily="34" charset="0"/>
                <a:cs typeface="Arial" panose="020B0604020202020204" pitchFamily="34" charset="0"/>
              </a:rPr>
              <a:t>Zuzahlung im Bestandsvertrag </a:t>
            </a:r>
            <a:r>
              <a:rPr lang="de-DE" altLang="de-DE" sz="1100" kern="0" dirty="0" err="1">
                <a:latin typeface="Allianz Neo" panose="020B0504020203020204" pitchFamily="34" charset="0"/>
                <a:cs typeface="Arial" panose="020B0604020202020204" pitchFamily="34" charset="0"/>
              </a:rPr>
              <a:t>SchatzBrief</a:t>
            </a:r>
            <a:r>
              <a:rPr lang="de-DE" altLang="de-DE" sz="1100" kern="0" dirty="0">
                <a:latin typeface="Allianz Neo" panose="020B0504020203020204" pitchFamily="34" charset="0"/>
                <a:cs typeface="Arial" panose="020B0604020202020204" pitchFamily="34" charset="0"/>
              </a:rPr>
              <a:t> und </a:t>
            </a:r>
            <a:r>
              <a:rPr lang="de-DE" altLang="de-DE" sz="1100" kern="0" dirty="0" err="1">
                <a:latin typeface="Allianz Neo" panose="020B0504020203020204" pitchFamily="34" charset="0"/>
                <a:cs typeface="Arial" panose="020B0604020202020204" pitchFamily="34" charset="0"/>
              </a:rPr>
              <a:t>PrivatRente</a:t>
            </a:r>
            <a:r>
              <a:rPr lang="de-DE" altLang="de-DE" sz="1100" kern="0" dirty="0">
                <a:latin typeface="Allianz Neo" panose="020B0504020203020204" pitchFamily="34" charset="0"/>
                <a:cs typeface="Arial" panose="020B0604020202020204" pitchFamily="34" charset="0"/>
              </a:rPr>
              <a:t> EB (nur kapitalmarktnahe Produkte) (Brief Zuzahlung)</a:t>
            </a:r>
          </a:p>
          <a:p>
            <a:pPr defTabSz="863910">
              <a:spcBef>
                <a:spcPts val="283"/>
              </a:spcBef>
              <a:spcAft>
                <a:spcPts val="283"/>
              </a:spcAft>
              <a:buClr>
                <a:srgbClr val="003781"/>
              </a:buClr>
              <a:defRPr/>
            </a:pPr>
            <a:r>
              <a:rPr lang="de-DE" altLang="de-DE" sz="1100" kern="0" dirty="0">
                <a:latin typeface="Allianz Neo" panose="020B0504020203020204" pitchFamily="34" charset="0"/>
                <a:cs typeface="Arial" panose="020B0604020202020204" pitchFamily="34" charset="0"/>
              </a:rPr>
              <a:t> </a:t>
            </a:r>
            <a:r>
              <a:rPr lang="de-DE" altLang="de-DE" sz="1100" i="1" kern="0" dirty="0">
                <a:latin typeface="Allianz Neo" panose="020B0504020203020204" pitchFamily="34" charset="0"/>
                <a:cs typeface="Arial" panose="020B0604020202020204" pitchFamily="34" charset="0"/>
              </a:rPr>
              <a:t>oder </a:t>
            </a:r>
          </a:p>
          <a:p>
            <a:pPr marL="171448" indent="-171448" defTabSz="863910">
              <a:spcBef>
                <a:spcPts val="283"/>
              </a:spcBef>
              <a:spcAft>
                <a:spcPts val="378"/>
              </a:spcAft>
              <a:buClr>
                <a:srgbClr val="003781"/>
              </a:buClr>
              <a:buFont typeface="Arial" panose="020B0604020202020204" pitchFamily="34" charset="0"/>
              <a:buChar char="•"/>
              <a:defRPr/>
            </a:pPr>
            <a:r>
              <a:rPr lang="de-DE" altLang="de-DE" sz="1100" kern="0" dirty="0">
                <a:latin typeface="Allianz Neo" panose="020B0504020203020204" pitchFamily="34" charset="0"/>
                <a:cs typeface="Arial" panose="020B0604020202020204" pitchFamily="34" charset="0"/>
              </a:rPr>
              <a:t>Beratung zum </a:t>
            </a:r>
            <a:r>
              <a:rPr lang="de-DE" altLang="de-DE" sz="1100" b="1" kern="0" dirty="0">
                <a:latin typeface="Allianz Neo" panose="020B0504020203020204" pitchFamily="34" charset="0"/>
                <a:cs typeface="Arial" panose="020B0604020202020204" pitchFamily="34" charset="0"/>
              </a:rPr>
              <a:t>Neuabschluss von EB-Produkten </a:t>
            </a:r>
            <a:r>
              <a:rPr lang="de-DE" altLang="de-DE" sz="1100" kern="0" dirty="0">
                <a:latin typeface="Allianz Neo" panose="020B0504020203020204" pitchFamily="34" charset="0"/>
                <a:cs typeface="Arial" panose="020B0604020202020204" pitchFamily="34" charset="0"/>
              </a:rPr>
              <a:t>Leben (Brief Neuabschluss)</a:t>
            </a:r>
          </a:p>
        </p:txBody>
      </p:sp>
      <p:sp>
        <p:nvSpPr>
          <p:cNvPr id="19" name="Inhaltsplatzhalter 8">
            <a:extLst>
              <a:ext uri="{FF2B5EF4-FFF2-40B4-BE49-F238E27FC236}">
                <a16:creationId xmlns:a16="http://schemas.microsoft.com/office/drawing/2014/main" id="{11C6BF8D-5D39-9A15-A04E-C40FE83761C4}"/>
              </a:ext>
            </a:extLst>
          </p:cNvPr>
          <p:cNvSpPr txBox="1">
            <a:spLocks/>
          </p:cNvSpPr>
          <p:nvPr/>
        </p:nvSpPr>
        <p:spPr>
          <a:xfrm>
            <a:off x="6420685" y="4303876"/>
            <a:ext cx="4680000" cy="1497923"/>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endParaRPr lang="de-DE" sz="1100" b="1" dirty="0">
              <a:latin typeface="Allianz Neo" panose="020B0504020203020204" pitchFamily="34" charset="0"/>
              <a:cs typeface="Arial" panose="020B0604020202020204" pitchFamily="34" charset="0"/>
            </a:endParaRPr>
          </a:p>
          <a:p>
            <a:pPr marL="0" lvl="2" indent="0">
              <a:spcAft>
                <a:spcPts val="283"/>
              </a:spcAft>
              <a:buNone/>
            </a:pPr>
            <a:r>
              <a:rPr lang="de-DE" sz="1100" b="1" u="sng" dirty="0">
                <a:latin typeface="Allianz Neo" panose="020B0504020203020204" pitchFamily="34" charset="0"/>
                <a:cs typeface="Arial" panose="020B0604020202020204" pitchFamily="34" charset="0"/>
              </a:rPr>
              <a:t>Besonderheiten der Aktion </a:t>
            </a:r>
          </a:p>
          <a:p>
            <a:pPr marL="172083" indent="-172083" defTabSz="863910">
              <a:spcBef>
                <a:spcPts val="283"/>
              </a:spcBef>
              <a:spcAft>
                <a:spcPts val="378"/>
              </a:spcAft>
              <a:buClr>
                <a:srgbClr val="49648C"/>
              </a:buClr>
              <a:buFont typeface="Arial" panose="020B0604020202020204" pitchFamily="34" charset="0"/>
              <a:buChar char="•"/>
              <a:defRPr/>
            </a:pPr>
            <a:r>
              <a:rPr lang="de-DE" sz="1100" kern="0" dirty="0">
                <a:latin typeface="Allianz Neo" panose="020B0504020203020204" pitchFamily="34" charset="0"/>
                <a:cs typeface="Arial" panose="020B0604020202020204" pitchFamily="34" charset="0"/>
              </a:rPr>
              <a:t>Brief Zuzahlung inkl. vorpersonalisiertem Überweisungsträger</a:t>
            </a:r>
          </a:p>
          <a:p>
            <a:pPr marL="172083" indent="-172083" defTabSz="863910">
              <a:spcBef>
                <a:spcPts val="283"/>
              </a:spcBef>
              <a:spcAft>
                <a:spcPts val="378"/>
              </a:spcAft>
              <a:buClr>
                <a:srgbClr val="49648C"/>
              </a:buClr>
              <a:buFont typeface="Arial" panose="020B0604020202020204" pitchFamily="34" charset="0"/>
              <a:buChar char="•"/>
              <a:defRPr/>
            </a:pPr>
            <a:r>
              <a:rPr lang="de-DE" sz="1100" kern="0" dirty="0">
                <a:latin typeface="Allianz Neo" panose="020B0504020203020204" pitchFamily="34" charset="0"/>
                <a:cs typeface="Arial" panose="020B0604020202020204" pitchFamily="34" charset="0"/>
              </a:rPr>
              <a:t>Weitere Informationen zum Vertrag im ACA, z.B. Zuzahlungshöhe </a:t>
            </a:r>
          </a:p>
        </p:txBody>
      </p:sp>
      <p:cxnSp>
        <p:nvCxnSpPr>
          <p:cNvPr id="20" name="Gerader Verbinder 19">
            <a:extLst>
              <a:ext uri="{FF2B5EF4-FFF2-40B4-BE49-F238E27FC236}">
                <a16:creationId xmlns:a16="http://schemas.microsoft.com/office/drawing/2014/main" id="{2D190901-2A0B-9C2A-386F-7D570A165268}"/>
              </a:ext>
            </a:extLst>
          </p:cNvPr>
          <p:cNvCxnSpPr>
            <a:cxnSpLocks/>
          </p:cNvCxnSpPr>
          <p:nvPr/>
        </p:nvCxnSpPr>
        <p:spPr>
          <a:xfrm>
            <a:off x="5833564" y="1935346"/>
            <a:ext cx="0" cy="3852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Inhaltsplatzhalter 8">
            <a:extLst>
              <a:ext uri="{FF2B5EF4-FFF2-40B4-BE49-F238E27FC236}">
                <a16:creationId xmlns:a16="http://schemas.microsoft.com/office/drawing/2014/main" id="{776A7451-7A8A-6677-5F78-D5617F58B189}"/>
              </a:ext>
            </a:extLst>
          </p:cNvPr>
          <p:cNvSpPr txBox="1">
            <a:spLocks/>
          </p:cNvSpPr>
          <p:nvPr/>
        </p:nvSpPr>
        <p:spPr>
          <a:xfrm>
            <a:off x="856406" y="3836048"/>
            <a:ext cx="4680000" cy="307836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lvl="2" indent="0">
              <a:spcAft>
                <a:spcPts val="283"/>
              </a:spcAft>
              <a:buNone/>
            </a:pPr>
            <a:r>
              <a:rPr lang="de-DE" sz="1100" b="1" u="sng" dirty="0">
                <a:latin typeface="Allianz Neo" panose="020B0504020203020204" pitchFamily="34" charset="0"/>
                <a:cs typeface="Arial" panose="020B0604020202020204" pitchFamily="34" charset="0"/>
              </a:rPr>
              <a:t>Zielgruppen </a:t>
            </a:r>
          </a:p>
          <a:p>
            <a:pPr defTabSz="863910">
              <a:spcBef>
                <a:spcPts val="283"/>
              </a:spcBef>
              <a:spcAft>
                <a:spcPts val="378"/>
              </a:spcAft>
              <a:buClr>
                <a:srgbClr val="49648C"/>
              </a:buClr>
              <a:defRPr/>
            </a:pPr>
            <a:r>
              <a:rPr lang="de-DE" altLang="de-DE" sz="1100" kern="0" dirty="0">
                <a:latin typeface="Allianz Neo" panose="020B0504020203020204" pitchFamily="34" charset="0"/>
                <a:cs typeface="Arial" panose="020B0604020202020204" pitchFamily="34" charset="0"/>
              </a:rPr>
              <a:t>In der Aktion stellen wir Ihnen zur Verfügung:</a:t>
            </a:r>
          </a:p>
          <a:p>
            <a:pPr defTabSz="863910">
              <a:spcBef>
                <a:spcPts val="283"/>
              </a:spcBef>
              <a:spcAft>
                <a:spcPts val="378"/>
              </a:spcAft>
              <a:buClr>
                <a:srgbClr val="49648C"/>
              </a:buClr>
              <a:defRPr/>
            </a:pPr>
            <a:r>
              <a:rPr lang="de-DE" altLang="de-DE" sz="1100" b="1" kern="0" dirty="0">
                <a:latin typeface="Allianz Neo" panose="020B0504020203020204" pitchFamily="34" charset="0"/>
                <a:cs typeface="Arial" panose="020B0604020202020204" pitchFamily="34" charset="0"/>
              </a:rPr>
              <a:t>Kunden </a:t>
            </a:r>
            <a:r>
              <a:rPr lang="de-DE" altLang="de-DE" sz="1100" b="1" u="sng" kern="0" dirty="0">
                <a:latin typeface="Allianz Neo" panose="020B0504020203020204" pitchFamily="34" charset="0"/>
                <a:cs typeface="Arial" panose="020B0604020202020204" pitchFamily="34" charset="0"/>
              </a:rPr>
              <a:t>mit</a:t>
            </a:r>
            <a:r>
              <a:rPr lang="de-DE" altLang="de-DE" sz="1100" b="1" kern="0" dirty="0">
                <a:latin typeface="Allianz Neo" panose="020B0504020203020204" pitchFamily="34" charset="0"/>
                <a:cs typeface="Arial" panose="020B0604020202020204" pitchFamily="34" charset="0"/>
              </a:rPr>
              <a:t> EB-Verträgen aus den Bereichen Altersvorsorge und Vermögen</a:t>
            </a:r>
            <a:r>
              <a:rPr lang="de-DE" altLang="de-DE" sz="1100" kern="0" dirty="0">
                <a:latin typeface="Allianz Neo" panose="020B0504020203020204" pitchFamily="34" charset="0"/>
                <a:cs typeface="Arial" panose="020B0604020202020204" pitchFamily="34" charset="0"/>
              </a:rPr>
              <a:t>. Davon werden folgende Kunden/Verträge per Brief angeschrieben:</a:t>
            </a:r>
          </a:p>
          <a:p>
            <a:pPr marL="171450" indent="-171450" defTabSz="863910">
              <a:spcBef>
                <a:spcPts val="283"/>
              </a:spcBef>
              <a:spcAft>
                <a:spcPts val="378"/>
              </a:spcAft>
              <a:buClr>
                <a:srgbClr val="49648C"/>
              </a:buClr>
              <a:buFont typeface="Arial" panose="020B0604020202020204" pitchFamily="34" charset="0"/>
              <a:buChar char="•"/>
              <a:defRPr/>
            </a:pPr>
            <a:r>
              <a:rPr lang="de-DE" altLang="de-DE" sz="1100" b="1" kern="0" dirty="0">
                <a:latin typeface="Allianz Neo" panose="020B0504020203020204" pitchFamily="34" charset="0"/>
                <a:cs typeface="Arial" panose="020B0604020202020204" pitchFamily="34" charset="0"/>
              </a:rPr>
              <a:t>Brief Zuzahlung: </a:t>
            </a:r>
            <a:r>
              <a:rPr lang="de-DE" altLang="de-DE" sz="1100" kern="0" dirty="0">
                <a:latin typeface="Allianz Neo" panose="020B0504020203020204" pitchFamily="34" charset="0"/>
                <a:cs typeface="Arial" panose="020B0604020202020204" pitchFamily="34" charset="0"/>
              </a:rPr>
              <a:t>Zuzahlungsfähige </a:t>
            </a:r>
            <a:r>
              <a:rPr lang="de-DE" altLang="de-DE" sz="1100" kern="0" dirty="0" err="1">
                <a:latin typeface="Allianz Neo" panose="020B0504020203020204" pitchFamily="34" charset="0"/>
                <a:cs typeface="Arial" panose="020B0604020202020204" pitchFamily="34" charset="0"/>
              </a:rPr>
              <a:t>SchatzBriefe</a:t>
            </a:r>
            <a:r>
              <a:rPr lang="de-DE" altLang="de-DE" sz="1100" kern="0" dirty="0">
                <a:latin typeface="Allianz Neo" panose="020B0504020203020204" pitchFamily="34" charset="0"/>
                <a:cs typeface="Arial" panose="020B0604020202020204" pitchFamily="34" charset="0"/>
              </a:rPr>
              <a:t> und </a:t>
            </a:r>
            <a:r>
              <a:rPr lang="de-DE" altLang="de-DE" sz="1100" kern="0" dirty="0" err="1">
                <a:latin typeface="Allianz Neo" panose="020B0504020203020204" pitchFamily="34" charset="0"/>
                <a:cs typeface="Arial" panose="020B0604020202020204" pitchFamily="34" charset="0"/>
              </a:rPr>
              <a:t>PrivatRenten</a:t>
            </a:r>
            <a:r>
              <a:rPr lang="de-DE" altLang="de-DE" sz="1100" kern="0" dirty="0">
                <a:latin typeface="Allianz Neo" panose="020B0504020203020204" pitchFamily="34" charset="0"/>
                <a:cs typeface="Arial" panose="020B0604020202020204" pitchFamily="34" charset="0"/>
              </a:rPr>
              <a:t> EB (nur kapitalmarktnahe Produkte) </a:t>
            </a:r>
          </a:p>
          <a:p>
            <a:pPr marL="171450" indent="-171450" defTabSz="863910">
              <a:spcBef>
                <a:spcPts val="283"/>
              </a:spcBef>
              <a:spcAft>
                <a:spcPts val="378"/>
              </a:spcAft>
              <a:buClr>
                <a:srgbClr val="49648C"/>
              </a:buClr>
              <a:buFont typeface="Arial" panose="020B0604020202020204" pitchFamily="34" charset="0"/>
              <a:buChar char="•"/>
              <a:defRPr/>
            </a:pPr>
            <a:r>
              <a:rPr lang="de-DE" altLang="de-DE" sz="1100" b="1" kern="0" dirty="0">
                <a:latin typeface="Allianz Neo" panose="020B0504020203020204" pitchFamily="34" charset="0"/>
                <a:cs typeface="Arial" panose="020B0604020202020204" pitchFamily="34" charset="0"/>
              </a:rPr>
              <a:t>Brief Neuabschluss: </a:t>
            </a:r>
            <a:r>
              <a:rPr lang="de-DE" altLang="de-DE" sz="1100" kern="0" dirty="0">
                <a:latin typeface="Allianz Neo" panose="020B0504020203020204" pitchFamily="34" charset="0"/>
                <a:cs typeface="Arial" panose="020B0604020202020204" pitchFamily="34" charset="0"/>
              </a:rPr>
              <a:t>PFP, APD(Wiederanlage) und Vermögenspolicen sowie alle nicht-zuzahlungsfähigen </a:t>
            </a:r>
            <a:r>
              <a:rPr lang="de-DE" altLang="de-DE" sz="1100" kern="0" dirty="0" err="1">
                <a:latin typeface="Allianz Neo" panose="020B0504020203020204" pitchFamily="34" charset="0"/>
                <a:cs typeface="Arial" panose="020B0604020202020204" pitchFamily="34" charset="0"/>
              </a:rPr>
              <a:t>SchatzBriefe</a:t>
            </a:r>
            <a:r>
              <a:rPr lang="de-DE" altLang="de-DE" sz="1100" kern="0" dirty="0">
                <a:latin typeface="Allianz Neo" panose="020B0504020203020204" pitchFamily="34" charset="0"/>
                <a:cs typeface="Arial" panose="020B0604020202020204" pitchFamily="34" charset="0"/>
              </a:rPr>
              <a:t> und </a:t>
            </a:r>
            <a:r>
              <a:rPr lang="de-DE" altLang="de-DE" sz="1100" kern="0" dirty="0" err="1">
                <a:latin typeface="Allianz Neo" panose="020B0504020203020204" pitchFamily="34" charset="0"/>
                <a:cs typeface="Arial" panose="020B0604020202020204" pitchFamily="34" charset="0"/>
              </a:rPr>
              <a:t>PrivatRenten</a:t>
            </a:r>
            <a:r>
              <a:rPr lang="de-DE" altLang="de-DE" sz="1100" kern="0" dirty="0">
                <a:latin typeface="Allianz Neo" panose="020B0504020203020204" pitchFamily="34" charset="0"/>
                <a:cs typeface="Arial" panose="020B0604020202020204" pitchFamily="34" charset="0"/>
              </a:rPr>
              <a:t> EB</a:t>
            </a:r>
          </a:p>
        </p:txBody>
      </p:sp>
      <p:grpSp>
        <p:nvGrpSpPr>
          <p:cNvPr id="22" name="Gruppieren 21">
            <a:extLst>
              <a:ext uri="{FF2B5EF4-FFF2-40B4-BE49-F238E27FC236}">
                <a16:creationId xmlns:a16="http://schemas.microsoft.com/office/drawing/2014/main" id="{11FAEBEC-A5D0-BE8B-96A9-A06E049E7777}"/>
              </a:ext>
            </a:extLst>
          </p:cNvPr>
          <p:cNvGrpSpPr>
            <a:grpSpLocks noChangeAspect="1"/>
          </p:cNvGrpSpPr>
          <p:nvPr/>
        </p:nvGrpSpPr>
        <p:grpSpPr>
          <a:xfrm>
            <a:off x="467937" y="2027625"/>
            <a:ext cx="272129" cy="272129"/>
            <a:chOff x="7794111" y="2971740"/>
            <a:chExt cx="328528" cy="328528"/>
          </a:xfrm>
          <a:solidFill>
            <a:schemeClr val="bg1"/>
          </a:solidFill>
        </p:grpSpPr>
        <p:sp>
          <p:nvSpPr>
            <p:cNvPr id="23" name="Freihandform 1662">
              <a:extLst>
                <a:ext uri="{FF2B5EF4-FFF2-40B4-BE49-F238E27FC236}">
                  <a16:creationId xmlns:a16="http://schemas.microsoft.com/office/drawing/2014/main" id="{9AD8A285-3B24-1738-85B2-29BB87ABA409}"/>
                </a:ext>
              </a:extLst>
            </p:cNvPr>
            <p:cNvSpPr/>
            <p:nvPr/>
          </p:nvSpPr>
          <p:spPr>
            <a:xfrm>
              <a:off x="7794111" y="2971740"/>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89998" tIns="44998" rIns="89998" bIns="44998" anchor="ctr" anchorCtr="1" compatLnSpc="0"/>
            <a:lstStyle/>
            <a:p>
              <a:pPr hangingPunct="0"/>
              <a:endParaRPr lang="de-DE" sz="1100">
                <a:solidFill>
                  <a:schemeClr val="bg1"/>
                </a:solidFill>
                <a:latin typeface="Allianz Neo" panose="020B0504020203020204" pitchFamily="34" charset="0"/>
                <a:ea typeface="Arial Unicode MS" pitchFamily="2"/>
                <a:cs typeface="Arial" panose="020B0604020202020204" pitchFamily="34" charset="0"/>
              </a:endParaRPr>
            </a:p>
          </p:txBody>
        </p:sp>
        <p:sp>
          <p:nvSpPr>
            <p:cNvPr id="25" name="Freihandform 1663">
              <a:extLst>
                <a:ext uri="{FF2B5EF4-FFF2-40B4-BE49-F238E27FC236}">
                  <a16:creationId xmlns:a16="http://schemas.microsoft.com/office/drawing/2014/main" id="{887F3550-5B1A-2E9F-E93F-B4120B49EFAB}"/>
                </a:ext>
              </a:extLst>
            </p:cNvPr>
            <p:cNvSpPr/>
            <p:nvPr/>
          </p:nvSpPr>
          <p:spPr>
            <a:xfrm>
              <a:off x="7859537" y="3037399"/>
              <a:ext cx="196977" cy="196745"/>
            </a:xfrm>
            <a:custGeom>
              <a:avLst/>
              <a:gdLst/>
              <a:ahLst/>
              <a:cxnLst>
                <a:cxn ang="3cd4">
                  <a:pos x="hc" y="t"/>
                </a:cxn>
                <a:cxn ang="cd2">
                  <a:pos x="l" y="vc"/>
                </a:cxn>
                <a:cxn ang="cd4">
                  <a:pos x="hc" y="b"/>
                </a:cxn>
                <a:cxn ang="0">
                  <a:pos x="r" y="vc"/>
                </a:cxn>
              </a:cxnLst>
              <a:rect l="l" t="t" r="r" b="b"/>
              <a:pathLst>
                <a:path w="847" h="846">
                  <a:moveTo>
                    <a:pt x="443" y="406"/>
                  </a:moveTo>
                  <a:lnTo>
                    <a:pt x="443" y="141"/>
                  </a:lnTo>
                  <a:cubicBezTo>
                    <a:pt x="585" y="152"/>
                    <a:pt x="697" y="264"/>
                    <a:pt x="705" y="406"/>
                  </a:cubicBezTo>
                  <a:close/>
                  <a:moveTo>
                    <a:pt x="443" y="704"/>
                  </a:moveTo>
                  <a:lnTo>
                    <a:pt x="443" y="442"/>
                  </a:lnTo>
                  <a:lnTo>
                    <a:pt x="705" y="442"/>
                  </a:lnTo>
                  <a:cubicBezTo>
                    <a:pt x="697" y="584"/>
                    <a:pt x="585" y="696"/>
                    <a:pt x="443" y="704"/>
                  </a:cubicBezTo>
                  <a:close/>
                  <a:moveTo>
                    <a:pt x="407" y="406"/>
                  </a:moveTo>
                  <a:lnTo>
                    <a:pt x="142" y="406"/>
                  </a:lnTo>
                  <a:cubicBezTo>
                    <a:pt x="153" y="264"/>
                    <a:pt x="265" y="152"/>
                    <a:pt x="407" y="141"/>
                  </a:cubicBezTo>
                  <a:close/>
                  <a:moveTo>
                    <a:pt x="407" y="704"/>
                  </a:moveTo>
                  <a:cubicBezTo>
                    <a:pt x="265" y="696"/>
                    <a:pt x="153" y="584"/>
                    <a:pt x="142" y="442"/>
                  </a:cubicBezTo>
                  <a:lnTo>
                    <a:pt x="407" y="442"/>
                  </a:lnTo>
                  <a:close/>
                  <a:moveTo>
                    <a:pt x="830" y="406"/>
                  </a:moveTo>
                  <a:lnTo>
                    <a:pt x="741" y="406"/>
                  </a:lnTo>
                  <a:cubicBezTo>
                    <a:pt x="733" y="245"/>
                    <a:pt x="604" y="116"/>
                    <a:pt x="443" y="108"/>
                  </a:cubicBezTo>
                  <a:lnTo>
                    <a:pt x="443" y="19"/>
                  </a:lnTo>
                  <a:cubicBezTo>
                    <a:pt x="443" y="8"/>
                    <a:pt x="434" y="0"/>
                    <a:pt x="424" y="0"/>
                  </a:cubicBezTo>
                  <a:cubicBezTo>
                    <a:pt x="415" y="0"/>
                    <a:pt x="407" y="8"/>
                    <a:pt x="407" y="19"/>
                  </a:cubicBezTo>
                  <a:lnTo>
                    <a:pt x="407" y="108"/>
                  </a:lnTo>
                  <a:cubicBezTo>
                    <a:pt x="246" y="116"/>
                    <a:pt x="117" y="245"/>
                    <a:pt x="108" y="406"/>
                  </a:cubicBezTo>
                  <a:lnTo>
                    <a:pt x="20" y="406"/>
                  </a:lnTo>
                  <a:cubicBezTo>
                    <a:pt x="9" y="406"/>
                    <a:pt x="0" y="414"/>
                    <a:pt x="0" y="423"/>
                  </a:cubicBezTo>
                  <a:cubicBezTo>
                    <a:pt x="0" y="433"/>
                    <a:pt x="9" y="442"/>
                    <a:pt x="20" y="442"/>
                  </a:cubicBezTo>
                  <a:lnTo>
                    <a:pt x="108" y="442"/>
                  </a:lnTo>
                  <a:cubicBezTo>
                    <a:pt x="117" y="603"/>
                    <a:pt x="246" y="732"/>
                    <a:pt x="407" y="740"/>
                  </a:cubicBezTo>
                  <a:lnTo>
                    <a:pt x="407" y="829"/>
                  </a:lnTo>
                  <a:cubicBezTo>
                    <a:pt x="407" y="840"/>
                    <a:pt x="415" y="846"/>
                    <a:pt x="424" y="846"/>
                  </a:cubicBezTo>
                  <a:cubicBezTo>
                    <a:pt x="434" y="846"/>
                    <a:pt x="443" y="840"/>
                    <a:pt x="443" y="829"/>
                  </a:cubicBezTo>
                  <a:lnTo>
                    <a:pt x="443" y="740"/>
                  </a:lnTo>
                  <a:cubicBezTo>
                    <a:pt x="604" y="732"/>
                    <a:pt x="733" y="603"/>
                    <a:pt x="741" y="442"/>
                  </a:cubicBezTo>
                  <a:lnTo>
                    <a:pt x="830" y="442"/>
                  </a:lnTo>
                  <a:cubicBezTo>
                    <a:pt x="841" y="442"/>
                    <a:pt x="847" y="433"/>
                    <a:pt x="847" y="423"/>
                  </a:cubicBezTo>
                  <a:cubicBezTo>
                    <a:pt x="847" y="414"/>
                    <a:pt x="841" y="406"/>
                    <a:pt x="830" y="406"/>
                  </a:cubicBezTo>
                  <a:close/>
                </a:path>
              </a:pathLst>
            </a:custGeom>
            <a:grpFill/>
            <a:ln cap="flat">
              <a:noFill/>
              <a:prstDash val="solid"/>
            </a:ln>
          </p:spPr>
          <p:txBody>
            <a:bodyPr vert="horz" wrap="none" lIns="89998" tIns="44998" rIns="89998" bIns="44998" anchor="ctr" anchorCtr="1" compatLnSpc="0"/>
            <a:lstStyle/>
            <a:p>
              <a:pPr hangingPunct="0"/>
              <a:endParaRPr lang="de-DE" sz="1100">
                <a:solidFill>
                  <a:schemeClr val="bg1"/>
                </a:solidFill>
                <a:latin typeface="Allianz Neo" panose="020B0504020203020204" pitchFamily="34" charset="0"/>
                <a:ea typeface="Arial Unicode MS" pitchFamily="2"/>
                <a:cs typeface="Arial" panose="020B0604020202020204" pitchFamily="34" charset="0"/>
              </a:endParaRPr>
            </a:p>
          </p:txBody>
        </p:sp>
      </p:grpSp>
      <p:grpSp>
        <p:nvGrpSpPr>
          <p:cNvPr id="26" name="Gruppieren 25">
            <a:extLst>
              <a:ext uri="{FF2B5EF4-FFF2-40B4-BE49-F238E27FC236}">
                <a16:creationId xmlns:a16="http://schemas.microsoft.com/office/drawing/2014/main" id="{B26F311A-1607-1CAE-FBAF-CF36DF5CCEFA}"/>
              </a:ext>
            </a:extLst>
          </p:cNvPr>
          <p:cNvGrpSpPr>
            <a:grpSpLocks noChangeAspect="1"/>
          </p:cNvGrpSpPr>
          <p:nvPr/>
        </p:nvGrpSpPr>
        <p:grpSpPr>
          <a:xfrm>
            <a:off x="494301" y="3792811"/>
            <a:ext cx="245765" cy="272320"/>
            <a:chOff x="6888480" y="2084643"/>
            <a:chExt cx="328296" cy="328528"/>
          </a:xfrm>
          <a:solidFill>
            <a:schemeClr val="bg1"/>
          </a:solidFill>
        </p:grpSpPr>
        <p:sp>
          <p:nvSpPr>
            <p:cNvPr id="27" name="Freihandform 1108">
              <a:extLst>
                <a:ext uri="{FF2B5EF4-FFF2-40B4-BE49-F238E27FC236}">
                  <a16:creationId xmlns:a16="http://schemas.microsoft.com/office/drawing/2014/main" id="{A558A57C-F963-AE76-FD9B-5C8666874776}"/>
                </a:ext>
              </a:extLst>
            </p:cNvPr>
            <p:cNvSpPr/>
            <p:nvPr/>
          </p:nvSpPr>
          <p:spPr>
            <a:xfrm>
              <a:off x="6888480" y="2084643"/>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89998" tIns="44998" rIns="89998" bIns="44998" anchor="ctr" anchorCtr="1" compatLnSpc="0"/>
            <a:lstStyle/>
            <a:p>
              <a:pPr hangingPunct="0"/>
              <a:endParaRPr lang="de-DE" sz="1100">
                <a:solidFill>
                  <a:schemeClr val="bg1"/>
                </a:solidFill>
                <a:latin typeface="Allianz Neo" panose="020B0504020203020204" pitchFamily="34" charset="0"/>
                <a:ea typeface="Arial Unicode MS" pitchFamily="2"/>
                <a:cs typeface="Arial" panose="020B0604020202020204" pitchFamily="34" charset="0"/>
              </a:endParaRPr>
            </a:p>
          </p:txBody>
        </p:sp>
        <p:sp>
          <p:nvSpPr>
            <p:cNvPr id="28" name="Freihandform 1109">
              <a:extLst>
                <a:ext uri="{FF2B5EF4-FFF2-40B4-BE49-F238E27FC236}">
                  <a16:creationId xmlns:a16="http://schemas.microsoft.com/office/drawing/2014/main" id="{9DB61891-2B7F-FBDA-8710-D2865D6EBAB7}"/>
                </a:ext>
              </a:extLst>
            </p:cNvPr>
            <p:cNvSpPr/>
            <p:nvPr/>
          </p:nvSpPr>
          <p:spPr>
            <a:xfrm>
              <a:off x="7020031" y="2314916"/>
              <a:ext cx="65193" cy="15833"/>
            </a:xfrm>
            <a:custGeom>
              <a:avLst/>
              <a:gdLst/>
              <a:ahLst/>
              <a:cxnLst>
                <a:cxn ang="3cd4">
                  <a:pos x="hc" y="t"/>
                </a:cxn>
                <a:cxn ang="cd2">
                  <a:pos x="l" y="vc"/>
                </a:cxn>
                <a:cxn ang="cd4">
                  <a:pos x="hc" y="b"/>
                </a:cxn>
                <a:cxn ang="0">
                  <a:pos x="r" y="vc"/>
                </a:cxn>
              </a:cxnLst>
              <a:rect l="l" t="t" r="r" b="b"/>
              <a:pathLst>
                <a:path w="281" h="69">
                  <a:moveTo>
                    <a:pt x="207" y="0"/>
                  </a:moveTo>
                  <a:lnTo>
                    <a:pt x="76" y="0"/>
                  </a:lnTo>
                  <a:cubicBezTo>
                    <a:pt x="46" y="0"/>
                    <a:pt x="0" y="0"/>
                    <a:pt x="0" y="52"/>
                  </a:cubicBezTo>
                  <a:cubicBezTo>
                    <a:pt x="0" y="61"/>
                    <a:pt x="6" y="69"/>
                    <a:pt x="17" y="69"/>
                  </a:cubicBezTo>
                  <a:cubicBezTo>
                    <a:pt x="27" y="69"/>
                    <a:pt x="34" y="61"/>
                    <a:pt x="34" y="52"/>
                  </a:cubicBezTo>
                  <a:cubicBezTo>
                    <a:pt x="34" y="40"/>
                    <a:pt x="34" y="36"/>
                    <a:pt x="76" y="33"/>
                  </a:cubicBezTo>
                  <a:lnTo>
                    <a:pt x="141" y="33"/>
                  </a:lnTo>
                  <a:lnTo>
                    <a:pt x="207" y="33"/>
                  </a:lnTo>
                  <a:cubicBezTo>
                    <a:pt x="245" y="33"/>
                    <a:pt x="245" y="38"/>
                    <a:pt x="245" y="52"/>
                  </a:cubicBezTo>
                  <a:cubicBezTo>
                    <a:pt x="245" y="61"/>
                    <a:pt x="254" y="69"/>
                    <a:pt x="264" y="69"/>
                  </a:cubicBezTo>
                  <a:cubicBezTo>
                    <a:pt x="273" y="69"/>
                    <a:pt x="281" y="61"/>
                    <a:pt x="281" y="52"/>
                  </a:cubicBezTo>
                  <a:cubicBezTo>
                    <a:pt x="281" y="0"/>
                    <a:pt x="237" y="0"/>
                    <a:pt x="207" y="0"/>
                  </a:cubicBezTo>
                  <a:close/>
                </a:path>
              </a:pathLst>
            </a:custGeom>
            <a:grpFill/>
            <a:ln cap="flat">
              <a:noFill/>
              <a:prstDash val="solid"/>
            </a:ln>
          </p:spPr>
          <p:txBody>
            <a:bodyPr vert="horz" wrap="none" lIns="89998" tIns="44998" rIns="89998" bIns="44998" anchor="ctr" anchorCtr="1" compatLnSpc="0"/>
            <a:lstStyle/>
            <a:p>
              <a:pPr hangingPunct="0"/>
              <a:endParaRPr lang="de-DE" sz="1100">
                <a:solidFill>
                  <a:schemeClr val="bg1"/>
                </a:solidFill>
                <a:latin typeface="Allianz Neo" panose="020B0504020203020204" pitchFamily="34" charset="0"/>
                <a:ea typeface="Arial Unicode MS" pitchFamily="2"/>
                <a:cs typeface="Arial" panose="020B0604020202020204" pitchFamily="34" charset="0"/>
              </a:endParaRPr>
            </a:p>
          </p:txBody>
        </p:sp>
        <p:sp>
          <p:nvSpPr>
            <p:cNvPr id="29" name="Freihandform 1110">
              <a:extLst>
                <a:ext uri="{FF2B5EF4-FFF2-40B4-BE49-F238E27FC236}">
                  <a16:creationId xmlns:a16="http://schemas.microsoft.com/office/drawing/2014/main" id="{8E117814-5539-FF51-EA8A-59B81A657BE8}"/>
                </a:ext>
              </a:extLst>
            </p:cNvPr>
            <p:cNvSpPr/>
            <p:nvPr/>
          </p:nvSpPr>
          <p:spPr>
            <a:xfrm>
              <a:off x="6974629" y="2167066"/>
              <a:ext cx="57510" cy="56811"/>
            </a:xfrm>
            <a:custGeom>
              <a:avLst/>
              <a:gdLst/>
              <a:ahLst/>
              <a:cxnLst>
                <a:cxn ang="3cd4">
                  <a:pos x="hc" y="t"/>
                </a:cxn>
                <a:cxn ang="cd2">
                  <a:pos x="l" y="vc"/>
                </a:cxn>
                <a:cxn ang="cd4">
                  <a:pos x="hc" y="b"/>
                </a:cxn>
                <a:cxn ang="0">
                  <a:pos x="r" y="vc"/>
                </a:cxn>
              </a:cxnLst>
              <a:rect l="l" t="t" r="r" b="b"/>
              <a:pathLst>
                <a:path w="248" h="245">
                  <a:moveTo>
                    <a:pt x="123" y="33"/>
                  </a:moveTo>
                  <a:cubicBezTo>
                    <a:pt x="171" y="33"/>
                    <a:pt x="212" y="74"/>
                    <a:pt x="212" y="122"/>
                  </a:cubicBezTo>
                  <a:cubicBezTo>
                    <a:pt x="212" y="171"/>
                    <a:pt x="171" y="211"/>
                    <a:pt x="123" y="211"/>
                  </a:cubicBezTo>
                  <a:cubicBezTo>
                    <a:pt x="74" y="211"/>
                    <a:pt x="36" y="171"/>
                    <a:pt x="36" y="122"/>
                  </a:cubicBezTo>
                  <a:cubicBezTo>
                    <a:pt x="36" y="74"/>
                    <a:pt x="74" y="33"/>
                    <a:pt x="123" y="33"/>
                  </a:cubicBezTo>
                  <a:close/>
                  <a:moveTo>
                    <a:pt x="123" y="245"/>
                  </a:moveTo>
                  <a:cubicBezTo>
                    <a:pt x="190" y="245"/>
                    <a:pt x="248" y="190"/>
                    <a:pt x="248" y="122"/>
                  </a:cubicBezTo>
                  <a:cubicBezTo>
                    <a:pt x="248" y="55"/>
                    <a:pt x="190" y="0"/>
                    <a:pt x="123" y="0"/>
                  </a:cubicBezTo>
                  <a:cubicBezTo>
                    <a:pt x="55" y="0"/>
                    <a:pt x="0" y="55"/>
                    <a:pt x="0" y="122"/>
                  </a:cubicBezTo>
                  <a:cubicBezTo>
                    <a:pt x="0" y="190"/>
                    <a:pt x="55" y="245"/>
                    <a:pt x="123" y="245"/>
                  </a:cubicBezTo>
                  <a:close/>
                </a:path>
              </a:pathLst>
            </a:custGeom>
            <a:grpFill/>
            <a:ln cap="flat">
              <a:noFill/>
              <a:prstDash val="solid"/>
            </a:ln>
          </p:spPr>
          <p:txBody>
            <a:bodyPr vert="horz" wrap="none" lIns="89998" tIns="44998" rIns="89998" bIns="44998" anchor="ctr" anchorCtr="1" compatLnSpc="0"/>
            <a:lstStyle/>
            <a:p>
              <a:pPr hangingPunct="0"/>
              <a:endParaRPr lang="de-DE" sz="1100">
                <a:solidFill>
                  <a:schemeClr val="bg1"/>
                </a:solidFill>
                <a:latin typeface="Allianz Neo" panose="020B0504020203020204" pitchFamily="34" charset="0"/>
                <a:ea typeface="Arial Unicode MS" pitchFamily="2"/>
                <a:cs typeface="Arial" panose="020B0604020202020204" pitchFamily="34" charset="0"/>
              </a:endParaRPr>
            </a:p>
          </p:txBody>
        </p:sp>
        <p:sp>
          <p:nvSpPr>
            <p:cNvPr id="30" name="Freihandform 1111">
              <a:extLst>
                <a:ext uri="{FF2B5EF4-FFF2-40B4-BE49-F238E27FC236}">
                  <a16:creationId xmlns:a16="http://schemas.microsoft.com/office/drawing/2014/main" id="{6CB64A49-12C4-F095-4526-C72F522982AA}"/>
                </a:ext>
              </a:extLst>
            </p:cNvPr>
            <p:cNvSpPr/>
            <p:nvPr/>
          </p:nvSpPr>
          <p:spPr>
            <a:xfrm>
              <a:off x="7073117" y="2167066"/>
              <a:ext cx="57510" cy="56811"/>
            </a:xfrm>
            <a:custGeom>
              <a:avLst/>
              <a:gdLst/>
              <a:ahLst/>
              <a:cxnLst>
                <a:cxn ang="3cd4">
                  <a:pos x="hc" y="t"/>
                </a:cxn>
                <a:cxn ang="cd2">
                  <a:pos x="l" y="vc"/>
                </a:cxn>
                <a:cxn ang="cd4">
                  <a:pos x="hc" y="b"/>
                </a:cxn>
                <a:cxn ang="0">
                  <a:pos x="r" y="vc"/>
                </a:cxn>
              </a:cxnLst>
              <a:rect l="l" t="t" r="r" b="b"/>
              <a:pathLst>
                <a:path w="248" h="245">
                  <a:moveTo>
                    <a:pt x="123" y="33"/>
                  </a:moveTo>
                  <a:cubicBezTo>
                    <a:pt x="172" y="33"/>
                    <a:pt x="212" y="74"/>
                    <a:pt x="212" y="122"/>
                  </a:cubicBezTo>
                  <a:cubicBezTo>
                    <a:pt x="212" y="171"/>
                    <a:pt x="172" y="211"/>
                    <a:pt x="123" y="211"/>
                  </a:cubicBezTo>
                  <a:cubicBezTo>
                    <a:pt x="74" y="211"/>
                    <a:pt x="36" y="171"/>
                    <a:pt x="36" y="122"/>
                  </a:cubicBezTo>
                  <a:cubicBezTo>
                    <a:pt x="36" y="74"/>
                    <a:pt x="74" y="33"/>
                    <a:pt x="123" y="33"/>
                  </a:cubicBezTo>
                  <a:close/>
                  <a:moveTo>
                    <a:pt x="123" y="245"/>
                  </a:moveTo>
                  <a:cubicBezTo>
                    <a:pt x="191" y="245"/>
                    <a:pt x="248" y="190"/>
                    <a:pt x="248" y="122"/>
                  </a:cubicBezTo>
                  <a:cubicBezTo>
                    <a:pt x="248" y="55"/>
                    <a:pt x="191" y="0"/>
                    <a:pt x="123" y="0"/>
                  </a:cubicBezTo>
                  <a:cubicBezTo>
                    <a:pt x="55" y="0"/>
                    <a:pt x="0" y="55"/>
                    <a:pt x="0" y="122"/>
                  </a:cubicBezTo>
                  <a:cubicBezTo>
                    <a:pt x="0" y="190"/>
                    <a:pt x="55" y="245"/>
                    <a:pt x="123" y="245"/>
                  </a:cubicBezTo>
                  <a:close/>
                </a:path>
              </a:pathLst>
            </a:custGeom>
            <a:grpFill/>
            <a:ln cap="flat">
              <a:noFill/>
              <a:prstDash val="solid"/>
            </a:ln>
          </p:spPr>
          <p:txBody>
            <a:bodyPr vert="horz" wrap="none" lIns="89998" tIns="44998" rIns="89998" bIns="44998" anchor="ctr" anchorCtr="1" compatLnSpc="0"/>
            <a:lstStyle/>
            <a:p>
              <a:pPr hangingPunct="0"/>
              <a:endParaRPr lang="de-DE" sz="1100">
                <a:solidFill>
                  <a:schemeClr val="bg1"/>
                </a:solidFill>
                <a:latin typeface="Allianz Neo" panose="020B0504020203020204" pitchFamily="34" charset="0"/>
                <a:ea typeface="Arial Unicode MS" pitchFamily="2"/>
                <a:cs typeface="Arial" panose="020B0604020202020204" pitchFamily="34" charset="0"/>
              </a:endParaRPr>
            </a:p>
          </p:txBody>
        </p:sp>
        <p:sp>
          <p:nvSpPr>
            <p:cNvPr id="64" name="Freihandform 1112">
              <a:extLst>
                <a:ext uri="{FF2B5EF4-FFF2-40B4-BE49-F238E27FC236}">
                  <a16:creationId xmlns:a16="http://schemas.microsoft.com/office/drawing/2014/main" id="{EA3169B5-F670-1924-552C-EB2344A9211B}"/>
                </a:ext>
              </a:extLst>
            </p:cNvPr>
            <p:cNvSpPr/>
            <p:nvPr/>
          </p:nvSpPr>
          <p:spPr>
            <a:xfrm>
              <a:off x="7032372" y="2265555"/>
              <a:ext cx="40513" cy="40746"/>
            </a:xfrm>
            <a:custGeom>
              <a:avLst/>
              <a:gdLst/>
              <a:ahLst/>
              <a:cxnLst>
                <a:cxn ang="3cd4">
                  <a:pos x="hc" y="t"/>
                </a:cxn>
                <a:cxn ang="cd2">
                  <a:pos x="l" y="vc"/>
                </a:cxn>
                <a:cxn ang="cd4">
                  <a:pos x="hc" y="b"/>
                </a:cxn>
                <a:cxn ang="0">
                  <a:pos x="r" y="vc"/>
                </a:cxn>
              </a:cxnLst>
              <a:rect l="l" t="t" r="r" b="b"/>
              <a:pathLst>
                <a:path w="175" h="176">
                  <a:moveTo>
                    <a:pt x="86" y="34"/>
                  </a:moveTo>
                  <a:cubicBezTo>
                    <a:pt x="116" y="34"/>
                    <a:pt x="139" y="59"/>
                    <a:pt x="139" y="87"/>
                  </a:cubicBezTo>
                  <a:cubicBezTo>
                    <a:pt x="139" y="116"/>
                    <a:pt x="116" y="140"/>
                    <a:pt x="86" y="140"/>
                  </a:cubicBezTo>
                  <a:cubicBezTo>
                    <a:pt x="59" y="140"/>
                    <a:pt x="33" y="116"/>
                    <a:pt x="33" y="87"/>
                  </a:cubicBezTo>
                  <a:cubicBezTo>
                    <a:pt x="33" y="59"/>
                    <a:pt x="59" y="34"/>
                    <a:pt x="86" y="34"/>
                  </a:cubicBezTo>
                  <a:close/>
                  <a:moveTo>
                    <a:pt x="86" y="176"/>
                  </a:moveTo>
                  <a:cubicBezTo>
                    <a:pt x="135" y="176"/>
                    <a:pt x="175" y="135"/>
                    <a:pt x="175" y="87"/>
                  </a:cubicBezTo>
                  <a:cubicBezTo>
                    <a:pt x="175" y="38"/>
                    <a:pt x="135" y="0"/>
                    <a:pt x="86" y="0"/>
                  </a:cubicBezTo>
                  <a:cubicBezTo>
                    <a:pt x="38" y="0"/>
                    <a:pt x="0" y="38"/>
                    <a:pt x="0" y="87"/>
                  </a:cubicBezTo>
                  <a:cubicBezTo>
                    <a:pt x="0" y="135"/>
                    <a:pt x="38" y="176"/>
                    <a:pt x="86" y="176"/>
                  </a:cubicBezTo>
                  <a:close/>
                </a:path>
              </a:pathLst>
            </a:custGeom>
            <a:grpFill/>
            <a:ln cap="flat">
              <a:noFill/>
              <a:prstDash val="solid"/>
            </a:ln>
          </p:spPr>
          <p:txBody>
            <a:bodyPr vert="horz" wrap="none" lIns="89998" tIns="44998" rIns="89998" bIns="44998" anchor="ctr" anchorCtr="1" compatLnSpc="0"/>
            <a:lstStyle/>
            <a:p>
              <a:pPr hangingPunct="0"/>
              <a:endParaRPr lang="de-DE" sz="1100">
                <a:solidFill>
                  <a:schemeClr val="bg1"/>
                </a:solidFill>
                <a:latin typeface="Allianz Neo" panose="020B0504020203020204" pitchFamily="34" charset="0"/>
                <a:ea typeface="Arial Unicode MS" pitchFamily="2"/>
                <a:cs typeface="Arial" panose="020B0604020202020204" pitchFamily="34" charset="0"/>
              </a:endParaRPr>
            </a:p>
          </p:txBody>
        </p:sp>
        <p:sp>
          <p:nvSpPr>
            <p:cNvPr id="65" name="Freihandform 1113">
              <a:extLst>
                <a:ext uri="{FF2B5EF4-FFF2-40B4-BE49-F238E27FC236}">
                  <a16:creationId xmlns:a16="http://schemas.microsoft.com/office/drawing/2014/main" id="{4591A2B9-DBD3-FC59-A2B9-31977DA545A6}"/>
                </a:ext>
              </a:extLst>
            </p:cNvPr>
            <p:cNvSpPr/>
            <p:nvPr/>
          </p:nvSpPr>
          <p:spPr>
            <a:xfrm>
              <a:off x="6953907" y="2232493"/>
              <a:ext cx="196977" cy="65426"/>
            </a:xfrm>
            <a:custGeom>
              <a:avLst/>
              <a:gdLst/>
              <a:ahLst/>
              <a:cxnLst>
                <a:cxn ang="3cd4">
                  <a:pos x="hc" y="t"/>
                </a:cxn>
                <a:cxn ang="cd2">
                  <a:pos x="l" y="vc"/>
                </a:cxn>
                <a:cxn ang="cd4">
                  <a:pos x="hc" y="b"/>
                </a:cxn>
                <a:cxn ang="0">
                  <a:pos x="r" y="vc"/>
                </a:cxn>
              </a:cxnLst>
              <a:rect l="l" t="t" r="r" b="b"/>
              <a:pathLst>
                <a:path w="847" h="282">
                  <a:moveTo>
                    <a:pt x="751" y="0"/>
                  </a:moveTo>
                  <a:lnTo>
                    <a:pt x="502" y="0"/>
                  </a:lnTo>
                  <a:cubicBezTo>
                    <a:pt x="468" y="0"/>
                    <a:pt x="440" y="15"/>
                    <a:pt x="423" y="36"/>
                  </a:cubicBezTo>
                  <a:cubicBezTo>
                    <a:pt x="406" y="15"/>
                    <a:pt x="379" y="0"/>
                    <a:pt x="347" y="0"/>
                  </a:cubicBezTo>
                  <a:lnTo>
                    <a:pt x="97" y="0"/>
                  </a:lnTo>
                  <a:cubicBezTo>
                    <a:pt x="44" y="0"/>
                    <a:pt x="2" y="42"/>
                    <a:pt x="2" y="95"/>
                  </a:cubicBezTo>
                  <a:lnTo>
                    <a:pt x="0" y="265"/>
                  </a:lnTo>
                  <a:cubicBezTo>
                    <a:pt x="0" y="273"/>
                    <a:pt x="9" y="282"/>
                    <a:pt x="19" y="282"/>
                  </a:cubicBezTo>
                  <a:cubicBezTo>
                    <a:pt x="28" y="282"/>
                    <a:pt x="36" y="273"/>
                    <a:pt x="36" y="265"/>
                  </a:cubicBezTo>
                  <a:lnTo>
                    <a:pt x="36" y="95"/>
                  </a:lnTo>
                  <a:cubicBezTo>
                    <a:pt x="36" y="61"/>
                    <a:pt x="64" y="36"/>
                    <a:pt x="97" y="36"/>
                  </a:cubicBezTo>
                  <a:lnTo>
                    <a:pt x="347" y="36"/>
                  </a:lnTo>
                  <a:cubicBezTo>
                    <a:pt x="377" y="36"/>
                    <a:pt x="406" y="53"/>
                    <a:pt x="406" y="89"/>
                  </a:cubicBezTo>
                  <a:cubicBezTo>
                    <a:pt x="406" y="97"/>
                    <a:pt x="415" y="106"/>
                    <a:pt x="423" y="106"/>
                  </a:cubicBezTo>
                  <a:cubicBezTo>
                    <a:pt x="434" y="106"/>
                    <a:pt x="442" y="97"/>
                    <a:pt x="442" y="89"/>
                  </a:cubicBezTo>
                  <a:cubicBezTo>
                    <a:pt x="442" y="53"/>
                    <a:pt x="472" y="36"/>
                    <a:pt x="502" y="36"/>
                  </a:cubicBezTo>
                  <a:lnTo>
                    <a:pt x="751" y="36"/>
                  </a:lnTo>
                  <a:cubicBezTo>
                    <a:pt x="785" y="36"/>
                    <a:pt x="813" y="61"/>
                    <a:pt x="813" y="95"/>
                  </a:cubicBezTo>
                  <a:lnTo>
                    <a:pt x="811" y="265"/>
                  </a:lnTo>
                  <a:cubicBezTo>
                    <a:pt x="811" y="275"/>
                    <a:pt x="819" y="282"/>
                    <a:pt x="828" y="282"/>
                  </a:cubicBezTo>
                  <a:lnTo>
                    <a:pt x="830" y="282"/>
                  </a:lnTo>
                  <a:cubicBezTo>
                    <a:pt x="838" y="282"/>
                    <a:pt x="847" y="275"/>
                    <a:pt x="847" y="265"/>
                  </a:cubicBezTo>
                  <a:lnTo>
                    <a:pt x="847" y="95"/>
                  </a:lnTo>
                  <a:cubicBezTo>
                    <a:pt x="847" y="42"/>
                    <a:pt x="804" y="0"/>
                    <a:pt x="751" y="0"/>
                  </a:cubicBezTo>
                  <a:close/>
                </a:path>
              </a:pathLst>
            </a:custGeom>
            <a:grpFill/>
            <a:ln cap="flat">
              <a:noFill/>
              <a:prstDash val="solid"/>
            </a:ln>
          </p:spPr>
          <p:txBody>
            <a:bodyPr vert="horz" wrap="none" lIns="89998" tIns="44998" rIns="89998" bIns="44998" anchor="ctr" anchorCtr="1" compatLnSpc="0"/>
            <a:lstStyle/>
            <a:p>
              <a:pPr hangingPunct="0"/>
              <a:endParaRPr lang="de-DE" sz="1100">
                <a:solidFill>
                  <a:schemeClr val="bg1"/>
                </a:solidFill>
                <a:latin typeface="Allianz Neo" panose="020B0504020203020204" pitchFamily="34" charset="0"/>
                <a:ea typeface="Arial Unicode MS" pitchFamily="2"/>
                <a:cs typeface="Arial" panose="020B0604020202020204" pitchFamily="34" charset="0"/>
              </a:endParaRPr>
            </a:p>
          </p:txBody>
        </p:sp>
      </p:grpSp>
      <p:grpSp>
        <p:nvGrpSpPr>
          <p:cNvPr id="83" name="Gruppieren 82">
            <a:extLst>
              <a:ext uri="{FF2B5EF4-FFF2-40B4-BE49-F238E27FC236}">
                <a16:creationId xmlns:a16="http://schemas.microsoft.com/office/drawing/2014/main" id="{D8FBC01D-0542-0662-AAEB-6BF18D7FD5B6}"/>
              </a:ext>
            </a:extLst>
          </p:cNvPr>
          <p:cNvGrpSpPr>
            <a:grpSpLocks noChangeAspect="1"/>
          </p:cNvGrpSpPr>
          <p:nvPr/>
        </p:nvGrpSpPr>
        <p:grpSpPr>
          <a:xfrm>
            <a:off x="6032280" y="4421468"/>
            <a:ext cx="272129" cy="272320"/>
            <a:chOff x="10455168" y="3858604"/>
            <a:chExt cx="328296" cy="328528"/>
          </a:xfrm>
          <a:solidFill>
            <a:schemeClr val="bg1"/>
          </a:solidFill>
        </p:grpSpPr>
        <p:sp>
          <p:nvSpPr>
            <p:cNvPr id="84" name="Freihandform 1794">
              <a:extLst>
                <a:ext uri="{FF2B5EF4-FFF2-40B4-BE49-F238E27FC236}">
                  <a16:creationId xmlns:a16="http://schemas.microsoft.com/office/drawing/2014/main" id="{B3597EA6-C96F-E222-01FB-9141D10B681E}"/>
                </a:ext>
              </a:extLst>
            </p:cNvPr>
            <p:cNvSpPr/>
            <p:nvPr/>
          </p:nvSpPr>
          <p:spPr>
            <a:xfrm>
              <a:off x="10455168" y="3858604"/>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89998" tIns="44998" rIns="89998" bIns="44998" anchor="ctr" anchorCtr="1" compatLnSpc="0"/>
            <a:lstStyle/>
            <a:p>
              <a:pPr hangingPunct="0"/>
              <a:endParaRPr lang="de-DE" sz="1100">
                <a:solidFill>
                  <a:schemeClr val="bg1"/>
                </a:solidFill>
                <a:latin typeface="Allianz Neo" panose="020B0504020203020204" pitchFamily="34" charset="0"/>
                <a:ea typeface="Arial Unicode MS" pitchFamily="2"/>
                <a:cs typeface="Arial" panose="020B0604020202020204" pitchFamily="34" charset="0"/>
              </a:endParaRPr>
            </a:p>
          </p:txBody>
        </p:sp>
        <p:sp>
          <p:nvSpPr>
            <p:cNvPr id="85" name="Freihandform 1795">
              <a:extLst>
                <a:ext uri="{FF2B5EF4-FFF2-40B4-BE49-F238E27FC236}">
                  <a16:creationId xmlns:a16="http://schemas.microsoft.com/office/drawing/2014/main" id="{1CD1DA9A-63F5-A6BB-17D1-1CB6F9B47CAE}"/>
                </a:ext>
              </a:extLst>
            </p:cNvPr>
            <p:cNvSpPr/>
            <p:nvPr/>
          </p:nvSpPr>
          <p:spPr>
            <a:xfrm>
              <a:off x="10599060" y="3990156"/>
              <a:ext cx="40513" cy="130853"/>
            </a:xfrm>
            <a:custGeom>
              <a:avLst/>
              <a:gdLst/>
              <a:ahLst/>
              <a:cxnLst>
                <a:cxn ang="3cd4">
                  <a:pos x="hc" y="t"/>
                </a:cxn>
                <a:cxn ang="cd2">
                  <a:pos x="l" y="vc"/>
                </a:cxn>
                <a:cxn ang="cd4">
                  <a:pos x="hc" y="b"/>
                </a:cxn>
                <a:cxn ang="0">
                  <a:pos x="r" y="vc"/>
                </a:cxn>
              </a:cxnLst>
              <a:rect l="l" t="t" r="r" b="b"/>
              <a:pathLst>
                <a:path w="175" h="563">
                  <a:moveTo>
                    <a:pt x="139" y="529"/>
                  </a:moveTo>
                  <a:lnTo>
                    <a:pt x="34" y="529"/>
                  </a:lnTo>
                  <a:lnTo>
                    <a:pt x="34" y="34"/>
                  </a:lnTo>
                  <a:lnTo>
                    <a:pt x="139" y="34"/>
                  </a:lnTo>
                  <a:close/>
                  <a:moveTo>
                    <a:pt x="158" y="0"/>
                  </a:moveTo>
                  <a:lnTo>
                    <a:pt x="17" y="0"/>
                  </a:lnTo>
                  <a:cubicBezTo>
                    <a:pt x="6" y="0"/>
                    <a:pt x="0" y="7"/>
                    <a:pt x="0" y="17"/>
                  </a:cubicBezTo>
                  <a:lnTo>
                    <a:pt x="0" y="546"/>
                  </a:lnTo>
                  <a:cubicBezTo>
                    <a:pt x="0" y="557"/>
                    <a:pt x="6" y="563"/>
                    <a:pt x="17" y="563"/>
                  </a:cubicBezTo>
                  <a:lnTo>
                    <a:pt x="158" y="563"/>
                  </a:lnTo>
                  <a:cubicBezTo>
                    <a:pt x="167" y="563"/>
                    <a:pt x="175" y="557"/>
                    <a:pt x="175" y="546"/>
                  </a:cubicBezTo>
                  <a:lnTo>
                    <a:pt x="175" y="17"/>
                  </a:lnTo>
                  <a:cubicBezTo>
                    <a:pt x="175" y="7"/>
                    <a:pt x="167" y="0"/>
                    <a:pt x="158" y="0"/>
                  </a:cubicBezTo>
                  <a:close/>
                </a:path>
              </a:pathLst>
            </a:custGeom>
            <a:grpFill/>
            <a:ln cap="flat">
              <a:noFill/>
              <a:prstDash val="solid"/>
            </a:ln>
          </p:spPr>
          <p:txBody>
            <a:bodyPr vert="horz" wrap="none" lIns="89998" tIns="44998" rIns="89998" bIns="44998" anchor="ctr" anchorCtr="1" compatLnSpc="0"/>
            <a:lstStyle/>
            <a:p>
              <a:pPr hangingPunct="0"/>
              <a:endParaRPr lang="de-DE" sz="1100">
                <a:solidFill>
                  <a:schemeClr val="bg1"/>
                </a:solidFill>
                <a:latin typeface="Allianz Neo" panose="020B0504020203020204" pitchFamily="34" charset="0"/>
                <a:ea typeface="Arial Unicode MS" pitchFamily="2"/>
                <a:cs typeface="Arial" panose="020B0604020202020204" pitchFamily="34" charset="0"/>
              </a:endParaRPr>
            </a:p>
          </p:txBody>
        </p:sp>
        <p:sp>
          <p:nvSpPr>
            <p:cNvPr id="86" name="Freihandform 1796">
              <a:extLst>
                <a:ext uri="{FF2B5EF4-FFF2-40B4-BE49-F238E27FC236}">
                  <a16:creationId xmlns:a16="http://schemas.microsoft.com/office/drawing/2014/main" id="{0B84A0BA-D5BE-025A-FEE4-D824AE7D30BE}"/>
                </a:ext>
              </a:extLst>
            </p:cNvPr>
            <p:cNvSpPr/>
            <p:nvPr/>
          </p:nvSpPr>
          <p:spPr>
            <a:xfrm>
              <a:off x="10594636" y="3924264"/>
              <a:ext cx="48895" cy="48895"/>
            </a:xfrm>
            <a:custGeom>
              <a:avLst/>
              <a:gdLst/>
              <a:ahLst/>
              <a:cxnLst>
                <a:cxn ang="3cd4">
                  <a:pos x="hc" y="t"/>
                </a:cxn>
                <a:cxn ang="cd2">
                  <a:pos x="l" y="vc"/>
                </a:cxn>
                <a:cxn ang="cd4">
                  <a:pos x="hc" y="b"/>
                </a:cxn>
                <a:cxn ang="0">
                  <a:pos x="r" y="vc"/>
                </a:cxn>
              </a:cxnLst>
              <a:rect l="l" t="t" r="r" b="b"/>
              <a:pathLst>
                <a:path w="211" h="211">
                  <a:moveTo>
                    <a:pt x="105" y="177"/>
                  </a:moveTo>
                  <a:cubicBezTo>
                    <a:pt x="67" y="177"/>
                    <a:pt x="36" y="146"/>
                    <a:pt x="36" y="105"/>
                  </a:cubicBezTo>
                  <a:cubicBezTo>
                    <a:pt x="36" y="67"/>
                    <a:pt x="67" y="36"/>
                    <a:pt x="105" y="36"/>
                  </a:cubicBezTo>
                  <a:cubicBezTo>
                    <a:pt x="146" y="36"/>
                    <a:pt x="177" y="67"/>
                    <a:pt x="177" y="105"/>
                  </a:cubicBezTo>
                  <a:cubicBezTo>
                    <a:pt x="177" y="146"/>
                    <a:pt x="146" y="177"/>
                    <a:pt x="105" y="177"/>
                  </a:cubicBezTo>
                  <a:close/>
                  <a:moveTo>
                    <a:pt x="105" y="0"/>
                  </a:moveTo>
                  <a:cubicBezTo>
                    <a:pt x="48" y="0"/>
                    <a:pt x="0" y="48"/>
                    <a:pt x="0" y="105"/>
                  </a:cubicBezTo>
                  <a:cubicBezTo>
                    <a:pt x="0" y="165"/>
                    <a:pt x="48" y="211"/>
                    <a:pt x="105" y="211"/>
                  </a:cubicBezTo>
                  <a:cubicBezTo>
                    <a:pt x="165" y="211"/>
                    <a:pt x="211" y="165"/>
                    <a:pt x="211" y="105"/>
                  </a:cubicBezTo>
                  <a:cubicBezTo>
                    <a:pt x="211" y="48"/>
                    <a:pt x="165" y="0"/>
                    <a:pt x="105" y="0"/>
                  </a:cubicBezTo>
                  <a:close/>
                </a:path>
              </a:pathLst>
            </a:custGeom>
            <a:grpFill/>
            <a:ln cap="flat">
              <a:noFill/>
              <a:prstDash val="solid"/>
            </a:ln>
          </p:spPr>
          <p:txBody>
            <a:bodyPr vert="horz" wrap="none" lIns="89998" tIns="44998" rIns="89998" bIns="44998" anchor="ctr" anchorCtr="1" compatLnSpc="0"/>
            <a:lstStyle/>
            <a:p>
              <a:pPr hangingPunct="0"/>
              <a:endParaRPr lang="de-DE" sz="1100">
                <a:solidFill>
                  <a:schemeClr val="bg1"/>
                </a:solidFill>
                <a:latin typeface="Allianz Neo" panose="020B0504020203020204" pitchFamily="34" charset="0"/>
                <a:ea typeface="Arial Unicode MS" pitchFamily="2"/>
                <a:cs typeface="Arial" panose="020B0604020202020204" pitchFamily="34" charset="0"/>
              </a:endParaRPr>
            </a:p>
          </p:txBody>
        </p:sp>
      </p:grpSp>
      <p:grpSp>
        <p:nvGrpSpPr>
          <p:cNvPr id="104" name="Gruppieren 103">
            <a:extLst>
              <a:ext uri="{FF2B5EF4-FFF2-40B4-BE49-F238E27FC236}">
                <a16:creationId xmlns:a16="http://schemas.microsoft.com/office/drawing/2014/main" id="{9FF9CE94-DCC9-D768-D5F6-36CB62B25370}"/>
              </a:ext>
            </a:extLst>
          </p:cNvPr>
          <p:cNvGrpSpPr>
            <a:grpSpLocks noChangeAspect="1"/>
          </p:cNvGrpSpPr>
          <p:nvPr/>
        </p:nvGrpSpPr>
        <p:grpSpPr>
          <a:xfrm>
            <a:off x="6032280" y="2027625"/>
            <a:ext cx="272129" cy="272129"/>
            <a:chOff x="2896776" y="2971740"/>
            <a:chExt cx="328528" cy="328528"/>
          </a:xfrm>
          <a:solidFill>
            <a:schemeClr val="bg1"/>
          </a:solidFill>
        </p:grpSpPr>
        <p:sp>
          <p:nvSpPr>
            <p:cNvPr id="105" name="Freihandform 1203">
              <a:extLst>
                <a:ext uri="{FF2B5EF4-FFF2-40B4-BE49-F238E27FC236}">
                  <a16:creationId xmlns:a16="http://schemas.microsoft.com/office/drawing/2014/main" id="{4653D6CE-92F8-9042-061A-58C0253D2022}"/>
                </a:ext>
              </a:extLst>
            </p:cNvPr>
            <p:cNvSpPr/>
            <p:nvPr/>
          </p:nvSpPr>
          <p:spPr>
            <a:xfrm>
              <a:off x="2896776" y="2971740"/>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7" y="1376"/>
                    <a:pt x="36" y="1075"/>
                    <a:pt x="36" y="705"/>
                  </a:cubicBezTo>
                  <a:cubicBezTo>
                    <a:pt x="36" y="337"/>
                    <a:pt x="337"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89998" tIns="44998" rIns="89998" bIns="44998" anchor="ctr" anchorCtr="1" compatLnSpc="0"/>
            <a:lstStyle/>
            <a:p>
              <a:pPr hangingPunct="0"/>
              <a:endParaRPr lang="de-DE" sz="1100">
                <a:solidFill>
                  <a:schemeClr val="bg1"/>
                </a:solidFill>
                <a:latin typeface="Allianz Neo" panose="020B0504020203020204" pitchFamily="34" charset="0"/>
                <a:ea typeface="Arial Unicode MS" pitchFamily="2"/>
                <a:cs typeface="Arial" panose="020B0604020202020204" pitchFamily="34" charset="0"/>
              </a:endParaRPr>
            </a:p>
          </p:txBody>
        </p:sp>
        <p:sp>
          <p:nvSpPr>
            <p:cNvPr id="106" name="Freihandform 1204">
              <a:extLst>
                <a:ext uri="{FF2B5EF4-FFF2-40B4-BE49-F238E27FC236}">
                  <a16:creationId xmlns:a16="http://schemas.microsoft.com/office/drawing/2014/main" id="{61C9376C-E28B-4817-61AB-7ABF9F7A4AC2}"/>
                </a:ext>
              </a:extLst>
            </p:cNvPr>
            <p:cNvSpPr/>
            <p:nvPr/>
          </p:nvSpPr>
          <p:spPr>
            <a:xfrm>
              <a:off x="3003647" y="3045781"/>
              <a:ext cx="114554" cy="180446"/>
            </a:xfrm>
            <a:custGeom>
              <a:avLst/>
              <a:gdLst/>
              <a:ahLst/>
              <a:cxnLst>
                <a:cxn ang="3cd4">
                  <a:pos x="hc" y="t"/>
                </a:cxn>
                <a:cxn ang="cd2">
                  <a:pos x="l" y="vc"/>
                </a:cxn>
                <a:cxn ang="cd4">
                  <a:pos x="hc" y="b"/>
                </a:cxn>
                <a:cxn ang="0">
                  <a:pos x="r" y="vc"/>
                </a:cxn>
              </a:cxnLst>
              <a:rect l="l" t="t" r="r" b="b"/>
              <a:pathLst>
                <a:path w="493" h="776">
                  <a:moveTo>
                    <a:pt x="457" y="129"/>
                  </a:moveTo>
                  <a:cubicBezTo>
                    <a:pt x="457" y="190"/>
                    <a:pt x="422" y="226"/>
                    <a:pt x="383" y="262"/>
                  </a:cubicBezTo>
                  <a:cubicBezTo>
                    <a:pt x="377" y="268"/>
                    <a:pt x="373" y="273"/>
                    <a:pt x="366" y="279"/>
                  </a:cubicBezTo>
                  <a:cubicBezTo>
                    <a:pt x="356" y="287"/>
                    <a:pt x="322" y="323"/>
                    <a:pt x="299" y="347"/>
                  </a:cubicBezTo>
                  <a:cubicBezTo>
                    <a:pt x="295" y="351"/>
                    <a:pt x="282" y="366"/>
                    <a:pt x="282" y="387"/>
                  </a:cubicBezTo>
                  <a:cubicBezTo>
                    <a:pt x="282" y="410"/>
                    <a:pt x="295" y="425"/>
                    <a:pt x="301" y="431"/>
                  </a:cubicBezTo>
                  <a:cubicBezTo>
                    <a:pt x="322" y="453"/>
                    <a:pt x="358" y="489"/>
                    <a:pt x="366" y="497"/>
                  </a:cubicBezTo>
                  <a:cubicBezTo>
                    <a:pt x="371" y="501"/>
                    <a:pt x="377" y="508"/>
                    <a:pt x="383" y="512"/>
                  </a:cubicBezTo>
                  <a:cubicBezTo>
                    <a:pt x="422" y="550"/>
                    <a:pt x="457" y="586"/>
                    <a:pt x="457" y="647"/>
                  </a:cubicBezTo>
                  <a:lnTo>
                    <a:pt x="457" y="740"/>
                  </a:lnTo>
                  <a:lnTo>
                    <a:pt x="34" y="740"/>
                  </a:lnTo>
                  <a:lnTo>
                    <a:pt x="34" y="647"/>
                  </a:lnTo>
                  <a:cubicBezTo>
                    <a:pt x="34" y="586"/>
                    <a:pt x="72" y="550"/>
                    <a:pt x="110" y="512"/>
                  </a:cubicBezTo>
                  <a:cubicBezTo>
                    <a:pt x="117" y="508"/>
                    <a:pt x="121" y="501"/>
                    <a:pt x="125" y="497"/>
                  </a:cubicBezTo>
                  <a:cubicBezTo>
                    <a:pt x="136" y="489"/>
                    <a:pt x="172" y="453"/>
                    <a:pt x="193" y="429"/>
                  </a:cubicBezTo>
                  <a:cubicBezTo>
                    <a:pt x="197" y="425"/>
                    <a:pt x="212" y="410"/>
                    <a:pt x="212" y="387"/>
                  </a:cubicBezTo>
                  <a:cubicBezTo>
                    <a:pt x="212" y="366"/>
                    <a:pt x="197" y="351"/>
                    <a:pt x="193" y="345"/>
                  </a:cubicBezTo>
                  <a:cubicBezTo>
                    <a:pt x="172" y="323"/>
                    <a:pt x="136" y="287"/>
                    <a:pt x="127" y="279"/>
                  </a:cubicBezTo>
                  <a:cubicBezTo>
                    <a:pt x="121" y="273"/>
                    <a:pt x="117" y="268"/>
                    <a:pt x="110" y="262"/>
                  </a:cubicBezTo>
                  <a:cubicBezTo>
                    <a:pt x="72" y="226"/>
                    <a:pt x="34" y="190"/>
                    <a:pt x="34" y="129"/>
                  </a:cubicBezTo>
                  <a:lnTo>
                    <a:pt x="34" y="36"/>
                  </a:lnTo>
                  <a:lnTo>
                    <a:pt x="457" y="36"/>
                  </a:lnTo>
                  <a:close/>
                  <a:moveTo>
                    <a:pt x="477" y="0"/>
                  </a:moveTo>
                  <a:lnTo>
                    <a:pt x="17" y="0"/>
                  </a:lnTo>
                  <a:cubicBezTo>
                    <a:pt x="7" y="0"/>
                    <a:pt x="0" y="8"/>
                    <a:pt x="0" y="16"/>
                  </a:cubicBezTo>
                  <a:lnTo>
                    <a:pt x="0" y="129"/>
                  </a:lnTo>
                  <a:cubicBezTo>
                    <a:pt x="0" y="205"/>
                    <a:pt x="45" y="249"/>
                    <a:pt x="85" y="287"/>
                  </a:cubicBezTo>
                  <a:cubicBezTo>
                    <a:pt x="91" y="294"/>
                    <a:pt x="96" y="298"/>
                    <a:pt x="102" y="304"/>
                  </a:cubicBezTo>
                  <a:cubicBezTo>
                    <a:pt x="110" y="313"/>
                    <a:pt x="146" y="347"/>
                    <a:pt x="165" y="368"/>
                  </a:cubicBezTo>
                  <a:lnTo>
                    <a:pt x="168" y="370"/>
                  </a:lnTo>
                  <a:cubicBezTo>
                    <a:pt x="170" y="374"/>
                    <a:pt x="176" y="378"/>
                    <a:pt x="176" y="387"/>
                  </a:cubicBezTo>
                  <a:cubicBezTo>
                    <a:pt x="176" y="395"/>
                    <a:pt x="170" y="402"/>
                    <a:pt x="168" y="406"/>
                  </a:cubicBezTo>
                  <a:cubicBezTo>
                    <a:pt x="146" y="429"/>
                    <a:pt x="110" y="463"/>
                    <a:pt x="102" y="472"/>
                  </a:cubicBezTo>
                  <a:cubicBezTo>
                    <a:pt x="96" y="476"/>
                    <a:pt x="91" y="482"/>
                    <a:pt x="85" y="486"/>
                  </a:cubicBezTo>
                  <a:cubicBezTo>
                    <a:pt x="45" y="527"/>
                    <a:pt x="0" y="571"/>
                    <a:pt x="0" y="647"/>
                  </a:cubicBezTo>
                  <a:lnTo>
                    <a:pt x="0" y="757"/>
                  </a:lnTo>
                  <a:cubicBezTo>
                    <a:pt x="0" y="768"/>
                    <a:pt x="7" y="776"/>
                    <a:pt x="17" y="776"/>
                  </a:cubicBezTo>
                  <a:lnTo>
                    <a:pt x="477" y="776"/>
                  </a:lnTo>
                  <a:cubicBezTo>
                    <a:pt x="485" y="776"/>
                    <a:pt x="493" y="768"/>
                    <a:pt x="493" y="757"/>
                  </a:cubicBezTo>
                  <a:lnTo>
                    <a:pt x="493" y="647"/>
                  </a:lnTo>
                  <a:cubicBezTo>
                    <a:pt x="493" y="571"/>
                    <a:pt x="447" y="527"/>
                    <a:pt x="407" y="486"/>
                  </a:cubicBezTo>
                  <a:cubicBezTo>
                    <a:pt x="402" y="482"/>
                    <a:pt x="396" y="476"/>
                    <a:pt x="390" y="472"/>
                  </a:cubicBezTo>
                  <a:cubicBezTo>
                    <a:pt x="383" y="463"/>
                    <a:pt x="347" y="429"/>
                    <a:pt x="328" y="408"/>
                  </a:cubicBezTo>
                  <a:cubicBezTo>
                    <a:pt x="328" y="408"/>
                    <a:pt x="326" y="406"/>
                    <a:pt x="326" y="404"/>
                  </a:cubicBezTo>
                  <a:cubicBezTo>
                    <a:pt x="322" y="402"/>
                    <a:pt x="318" y="395"/>
                    <a:pt x="318" y="387"/>
                  </a:cubicBezTo>
                  <a:cubicBezTo>
                    <a:pt x="318" y="378"/>
                    <a:pt x="322" y="374"/>
                    <a:pt x="326" y="370"/>
                  </a:cubicBezTo>
                  <a:cubicBezTo>
                    <a:pt x="347" y="347"/>
                    <a:pt x="383" y="313"/>
                    <a:pt x="390" y="304"/>
                  </a:cubicBezTo>
                  <a:cubicBezTo>
                    <a:pt x="392" y="304"/>
                    <a:pt x="392" y="304"/>
                    <a:pt x="392" y="304"/>
                  </a:cubicBezTo>
                  <a:cubicBezTo>
                    <a:pt x="396" y="298"/>
                    <a:pt x="402" y="294"/>
                    <a:pt x="407" y="287"/>
                  </a:cubicBezTo>
                  <a:cubicBezTo>
                    <a:pt x="447" y="249"/>
                    <a:pt x="493" y="205"/>
                    <a:pt x="493" y="129"/>
                  </a:cubicBezTo>
                  <a:lnTo>
                    <a:pt x="493" y="16"/>
                  </a:lnTo>
                  <a:cubicBezTo>
                    <a:pt x="493" y="8"/>
                    <a:pt x="485" y="0"/>
                    <a:pt x="477" y="0"/>
                  </a:cubicBezTo>
                  <a:close/>
                </a:path>
              </a:pathLst>
            </a:custGeom>
            <a:grpFill/>
            <a:ln cap="flat">
              <a:noFill/>
              <a:prstDash val="solid"/>
            </a:ln>
          </p:spPr>
          <p:txBody>
            <a:bodyPr vert="horz" wrap="none" lIns="89998" tIns="44998" rIns="89998" bIns="44998" anchor="ctr" anchorCtr="1" compatLnSpc="0"/>
            <a:lstStyle/>
            <a:p>
              <a:pPr hangingPunct="0"/>
              <a:endParaRPr lang="de-DE" sz="1100">
                <a:solidFill>
                  <a:schemeClr val="bg1"/>
                </a:solidFill>
                <a:latin typeface="Allianz Neo" panose="020B0504020203020204" pitchFamily="34" charset="0"/>
                <a:ea typeface="Arial Unicode MS" pitchFamily="2"/>
                <a:cs typeface="Arial" panose="020B0604020202020204" pitchFamily="34" charset="0"/>
              </a:endParaRPr>
            </a:p>
          </p:txBody>
        </p:sp>
      </p:grpSp>
      <p:sp>
        <p:nvSpPr>
          <p:cNvPr id="107" name="Inhaltsplatzhalter 8">
            <a:extLst>
              <a:ext uri="{FF2B5EF4-FFF2-40B4-BE49-F238E27FC236}">
                <a16:creationId xmlns:a16="http://schemas.microsoft.com/office/drawing/2014/main" id="{99DCD131-CA70-CCDD-400C-94C5144322AD}"/>
              </a:ext>
            </a:extLst>
          </p:cNvPr>
          <p:cNvSpPr txBox="1">
            <a:spLocks/>
          </p:cNvSpPr>
          <p:nvPr/>
        </p:nvSpPr>
        <p:spPr>
          <a:xfrm>
            <a:off x="6420685" y="2070862"/>
            <a:ext cx="4680000" cy="216075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lvl="2" indent="0">
              <a:spcAft>
                <a:spcPts val="283"/>
              </a:spcAft>
              <a:buNone/>
            </a:pPr>
            <a:r>
              <a:rPr lang="de-DE" sz="1100" b="1" u="sng" dirty="0">
                <a:latin typeface="Allianz Neo" panose="020B0504020203020204" pitchFamily="34" charset="0"/>
                <a:cs typeface="Arial" panose="020B0604020202020204" pitchFamily="34" charset="0"/>
              </a:rPr>
              <a:t>Rahmendaten</a:t>
            </a:r>
          </a:p>
          <a:p>
            <a:pPr marL="215897" lvl="2" indent="-215897">
              <a:lnSpc>
                <a:spcPct val="150000"/>
              </a:lnSpc>
              <a:spcAft>
                <a:spcPts val="283"/>
              </a:spcAft>
            </a:pPr>
            <a:r>
              <a:rPr lang="de-DE" sz="1100" b="1" dirty="0">
                <a:latin typeface="Allianz Neo" panose="020B0504020203020204" pitchFamily="34" charset="0"/>
                <a:cs typeface="Arial" panose="020B0604020202020204" pitchFamily="34" charset="0"/>
              </a:rPr>
              <a:t>Potential: </a:t>
            </a:r>
            <a:r>
              <a:rPr lang="de-DE" sz="1100" dirty="0" err="1">
                <a:latin typeface="Allianz Neo" panose="020B0504020203020204" pitchFamily="34" charset="0"/>
                <a:cs typeface="Arial" panose="020B0604020202020204" pitchFamily="34" charset="0"/>
              </a:rPr>
              <a:t>Selekt</a:t>
            </a:r>
            <a:r>
              <a:rPr lang="de-DE" sz="1100" dirty="0">
                <a:latin typeface="Allianz Neo" panose="020B0504020203020204" pitchFamily="34" charset="0"/>
                <a:cs typeface="Arial" panose="020B0604020202020204" pitchFamily="34" charset="0"/>
              </a:rPr>
              <a:t>: 77.000 Verträge, Brief 163.000 Verträge </a:t>
            </a:r>
          </a:p>
          <a:p>
            <a:pPr marL="215897" lvl="2" indent="-215897">
              <a:lnSpc>
                <a:spcPct val="150000"/>
              </a:lnSpc>
              <a:spcAft>
                <a:spcPts val="283"/>
              </a:spcAft>
            </a:pPr>
            <a:r>
              <a:rPr lang="de-DE" sz="1100" b="1" dirty="0">
                <a:latin typeface="Allianz Neo" panose="020B0504020203020204" pitchFamily="34" charset="0"/>
                <a:cs typeface="Arial" panose="020B0604020202020204" pitchFamily="34" charset="0"/>
              </a:rPr>
              <a:t>Einstellung im ACA: </a:t>
            </a:r>
            <a:r>
              <a:rPr lang="de-DE" sz="1100" dirty="0">
                <a:latin typeface="Allianz Neo" panose="020B0504020203020204" pitchFamily="34" charset="0"/>
                <a:cs typeface="Arial" panose="020B0604020202020204" pitchFamily="34" charset="0"/>
              </a:rPr>
              <a:t>15.05.2024 – 15.05.2025</a:t>
            </a:r>
          </a:p>
          <a:p>
            <a:pPr marL="215897" lvl="2" indent="-215897">
              <a:lnSpc>
                <a:spcPct val="150000"/>
              </a:lnSpc>
              <a:spcAft>
                <a:spcPts val="283"/>
              </a:spcAft>
            </a:pPr>
            <a:r>
              <a:rPr lang="de-DE" sz="1100" b="1" dirty="0">
                <a:latin typeface="Allianz Neo" panose="020B0504020203020204" pitchFamily="34" charset="0"/>
                <a:cs typeface="Arial" panose="020B0604020202020204" pitchFamily="34" charset="0"/>
              </a:rPr>
              <a:t>Abwahl:  </a:t>
            </a:r>
            <a:r>
              <a:rPr lang="de-DE" sz="1100" dirty="0">
                <a:latin typeface="Allianz Neo" panose="020B0504020203020204" pitchFamily="34" charset="0"/>
                <a:cs typeface="Arial" panose="020B0604020202020204" pitchFamily="34" charset="0"/>
              </a:rPr>
              <a:t>möglich bis 02.06.2024 (über Ihren Allianz-Betreuer)</a:t>
            </a:r>
          </a:p>
          <a:p>
            <a:pPr marL="215897" lvl="2" indent="-215897">
              <a:lnSpc>
                <a:spcPct val="150000"/>
              </a:lnSpc>
              <a:spcAft>
                <a:spcPts val="283"/>
              </a:spcAft>
            </a:pPr>
            <a:r>
              <a:rPr lang="de-DE" sz="1100" b="1" dirty="0">
                <a:latin typeface="Allianz Neo" panose="020B0504020203020204" pitchFamily="34" charset="0"/>
                <a:cs typeface="Arial" panose="020B0604020202020204" pitchFamily="34" charset="0"/>
              </a:rPr>
              <a:t>Briefversand: </a:t>
            </a:r>
            <a:r>
              <a:rPr lang="de-DE" sz="1100" dirty="0">
                <a:latin typeface="Allianz Neo" panose="020B0504020203020204" pitchFamily="34" charset="0"/>
                <a:cs typeface="Arial" panose="020B0604020202020204" pitchFamily="34" charset="0"/>
              </a:rPr>
              <a:t>04. Juli 2024</a:t>
            </a:r>
          </a:p>
          <a:p>
            <a:pPr marL="215897" lvl="2" indent="-215897">
              <a:lnSpc>
                <a:spcPct val="150000"/>
              </a:lnSpc>
              <a:spcAft>
                <a:spcPts val="283"/>
              </a:spcAft>
            </a:pPr>
            <a:r>
              <a:rPr lang="de-DE" sz="1100" b="1" dirty="0">
                <a:latin typeface="Allianz Neo" panose="020B0504020203020204" pitchFamily="34" charset="0"/>
                <a:cs typeface="Arial" panose="020B0604020202020204" pitchFamily="34" charset="0"/>
              </a:rPr>
              <a:t>Teilnehmende Vertriebswege: </a:t>
            </a:r>
            <a:r>
              <a:rPr lang="de-DE" sz="1100" dirty="0">
                <a:latin typeface="Allianz Neo" panose="020B0504020203020204" pitchFamily="34" charset="0"/>
                <a:cs typeface="Arial"/>
              </a:rPr>
              <a:t>Makler Leben, Sondervertrieb, Freie Banken</a:t>
            </a:r>
          </a:p>
          <a:p>
            <a:pPr marL="215897" lvl="2" indent="-215897">
              <a:spcAft>
                <a:spcPts val="283"/>
              </a:spcAft>
            </a:pPr>
            <a:endParaRPr lang="de-DE" sz="1100" dirty="0">
              <a:latin typeface="Allianz Neo" panose="020B0504020203020204" pitchFamily="34" charset="0"/>
              <a:cs typeface="Arial" panose="020B0604020202020204" pitchFamily="34" charset="0"/>
            </a:endParaRPr>
          </a:p>
          <a:p>
            <a:pPr defTabSz="863910">
              <a:spcBef>
                <a:spcPts val="283"/>
              </a:spcBef>
              <a:spcAft>
                <a:spcPts val="378"/>
              </a:spcAft>
              <a:buClr>
                <a:srgbClr val="49648C"/>
              </a:buClr>
              <a:defRPr/>
            </a:pPr>
            <a:endParaRPr lang="de-DE" sz="1100" kern="0" dirty="0">
              <a:solidFill>
                <a:srgbClr val="FF0000"/>
              </a:solidFill>
              <a:latin typeface="Allianz Neo" panose="020B0504020203020204" pitchFamily="34" charset="0"/>
              <a:cs typeface="Arial" panose="020B0604020202020204" pitchFamily="34" charset="0"/>
            </a:endParaRPr>
          </a:p>
        </p:txBody>
      </p:sp>
    </p:spTree>
    <p:extLst>
      <p:ext uri="{BB962C8B-B14F-4D97-AF65-F5344CB8AC3E}">
        <p14:creationId xmlns:p14="http://schemas.microsoft.com/office/powerpoint/2010/main" val="4334431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93974" y="4009123"/>
            <a:ext cx="3384550" cy="468305"/>
          </a:xfrm>
        </p:spPr>
        <p:txBody>
          <a:bodyPr/>
          <a:lstStyle/>
          <a:p>
            <a:pPr defTabSz="864006">
              <a:defRPr/>
            </a:pPr>
            <a:r>
              <a:rPr lang="de-DE" dirty="0">
                <a:solidFill>
                  <a:srgbClr val="003781"/>
                </a:solidFill>
                <a:latin typeface="+mj-lt"/>
                <a:cs typeface="Arial" panose="020B0604020202020204" pitchFamily="34" charset="0"/>
              </a:rPr>
              <a:t>© Allianz 2024</a:t>
            </a: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93" y="468043"/>
            <a:ext cx="9246058" cy="251996"/>
          </a:xfrm>
        </p:spPr>
        <p:txBody>
          <a:bodyPr/>
          <a:lstStyle/>
          <a:p>
            <a:pPr defTabSz="864006">
              <a:defRPr/>
            </a:pPr>
            <a:r>
              <a:rPr lang="de-DE" dirty="0">
                <a:solidFill>
                  <a:srgbClr val="003781"/>
                </a:solidFill>
                <a:latin typeface="+mj-lt"/>
                <a:cs typeface="Arial" panose="020B0604020202020204" pitchFamily="34" charset="0"/>
              </a:rPr>
              <a:t>Briefaktion: Förderung und Zuzahlung Einmalbeitragsgeschäft 2024 (</a:t>
            </a:r>
            <a:r>
              <a:rPr lang="de-DE" dirty="0"/>
              <a:t>22783</a:t>
            </a:r>
            <a:r>
              <a:rPr lang="de-DE" dirty="0">
                <a:solidFill>
                  <a:srgbClr val="003781"/>
                </a:solidFill>
                <a:latin typeface="+mj-lt"/>
                <a:cs typeface="Arial" panose="020B0604020202020204" pitchFamily="34" charset="0"/>
              </a:rPr>
              <a:t>)</a:t>
            </a:r>
          </a:p>
          <a:p>
            <a:pPr defTabSz="864006">
              <a:defRPr/>
            </a:pPr>
            <a:endParaRPr lang="de-DE" dirty="0">
              <a:solidFill>
                <a:srgbClr val="003781"/>
              </a:solidFill>
              <a:latin typeface="+mj-lt"/>
              <a:cs typeface="Arial" panose="020B0604020202020204" pitchFamily="34" charset="0"/>
            </a:endParaRPr>
          </a:p>
        </p:txBody>
      </p:sp>
      <p:sp>
        <p:nvSpPr>
          <p:cNvPr id="9" name="Foliennummernplatzhalter 8"/>
          <p:cNvSpPr>
            <a:spLocks noGrp="1"/>
          </p:cNvSpPr>
          <p:nvPr>
            <p:ph type="sldNum" sz="quarter" idx="12"/>
          </p:nvPr>
        </p:nvSpPr>
        <p:spPr/>
        <p:txBody>
          <a:bodyPr/>
          <a:lstStyle/>
          <a:p>
            <a:pPr defTabSz="864006">
              <a:defRPr/>
            </a:pPr>
            <a:fld id="{61201FF1-C63B-412E-ABF0-3D0E918900AC}" type="slidenum">
              <a:rPr lang="en-GB">
                <a:solidFill>
                  <a:srgbClr val="003781"/>
                </a:solidFill>
                <a:latin typeface="+mj-lt"/>
                <a:cs typeface="Arial" panose="020B0604020202020204" pitchFamily="34" charset="0"/>
              </a:rPr>
              <a:pPr defTabSz="864006">
                <a:defRPr/>
              </a:pPr>
              <a:t>4</a:t>
            </a:fld>
            <a:endParaRPr lang="en-GB">
              <a:solidFill>
                <a:srgbClr val="003781"/>
              </a:solidFill>
              <a:latin typeface="+mj-lt"/>
              <a:cs typeface="Arial" panose="020B0604020202020204" pitchFamily="34" charset="0"/>
            </a:endParaRPr>
          </a:p>
        </p:txBody>
      </p:sp>
      <p:cxnSp>
        <p:nvCxnSpPr>
          <p:cNvPr id="112" name="Gerader Verbinder 111"/>
          <p:cNvCxnSpPr/>
          <p:nvPr/>
        </p:nvCxnSpPr>
        <p:spPr>
          <a:xfrm>
            <a:off x="8708982" y="3602474"/>
            <a:ext cx="2200889" cy="0"/>
          </a:xfrm>
          <a:prstGeom prst="line">
            <a:avLst/>
          </a:prstGeom>
          <a:noFill/>
          <a:ln w="12700" cap="flat" cmpd="sng" algn="ctr">
            <a:solidFill>
              <a:srgbClr val="FFFFFF"/>
            </a:solidFill>
            <a:prstDash val="solid"/>
          </a:ln>
          <a:effectLst/>
        </p:spPr>
      </p:cxnSp>
      <p:sp>
        <p:nvSpPr>
          <p:cNvPr id="115" name="Title 1"/>
          <p:cNvSpPr>
            <a:spLocks noGrp="1"/>
          </p:cNvSpPr>
          <p:nvPr>
            <p:ph type="title"/>
          </p:nvPr>
        </p:nvSpPr>
        <p:spPr>
          <a:xfrm>
            <a:off x="468395" y="1152556"/>
            <a:ext cx="10367803" cy="900100"/>
          </a:xfrm>
        </p:spPr>
        <p:txBody>
          <a:bodyPr/>
          <a:lstStyle/>
          <a:p>
            <a:r>
              <a:rPr lang="de-DE" sz="4725" dirty="0">
                <a:latin typeface="+mj-lt"/>
                <a:cs typeface="Arial" panose="020B0604020202020204" pitchFamily="34" charset="0"/>
              </a:rPr>
              <a:t>Zielgruppen – </a:t>
            </a:r>
            <a:r>
              <a:rPr lang="de-DE" sz="4725" dirty="0">
                <a:solidFill>
                  <a:srgbClr val="13A0D3"/>
                </a:solidFill>
                <a:latin typeface="+mj-lt"/>
                <a:cs typeface="Arial" panose="020B0604020202020204" pitchFamily="34" charset="0"/>
              </a:rPr>
              <a:t>Details</a:t>
            </a:r>
          </a:p>
        </p:txBody>
      </p:sp>
      <p:sp>
        <p:nvSpPr>
          <p:cNvPr id="78" name="Inhaltsplatzhalter 8">
            <a:extLst>
              <a:ext uri="{FF2B5EF4-FFF2-40B4-BE49-F238E27FC236}">
                <a16:creationId xmlns:a16="http://schemas.microsoft.com/office/drawing/2014/main" id="{EFEA0999-7791-4F4B-8AB8-C15542F07BB4}"/>
              </a:ext>
            </a:extLst>
          </p:cNvPr>
          <p:cNvSpPr txBox="1">
            <a:spLocks/>
          </p:cNvSpPr>
          <p:nvPr/>
        </p:nvSpPr>
        <p:spPr>
          <a:xfrm>
            <a:off x="574518" y="2367456"/>
            <a:ext cx="4413988" cy="36730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lvl="2" indent="0" defTabSz="864006">
              <a:spcAft>
                <a:spcPts val="283"/>
              </a:spcAft>
              <a:buNone/>
              <a:defRPr/>
            </a:pPr>
            <a:r>
              <a:rPr lang="de-DE" sz="1050" dirty="0">
                <a:solidFill>
                  <a:srgbClr val="003781"/>
                </a:solidFill>
                <a:latin typeface="+mj-lt"/>
                <a:cs typeface="Arial" panose="020B0604020202020204" pitchFamily="34" charset="0"/>
              </a:rPr>
              <a:t>Selektiert werden Kunden mit nachfolgenden Merkmalen:</a:t>
            </a:r>
          </a:p>
          <a:p>
            <a:pPr marL="0" lvl="2" indent="0" defTabSz="864006">
              <a:spcAft>
                <a:spcPts val="283"/>
              </a:spcAft>
              <a:buNone/>
              <a:defRPr/>
            </a:pPr>
            <a:r>
              <a:rPr lang="de-DE" altLang="de-DE" sz="1050" b="1" u="sng" kern="0" dirty="0">
                <a:solidFill>
                  <a:srgbClr val="003781"/>
                </a:solidFill>
                <a:latin typeface="+mj-lt"/>
                <a:cs typeface="Arial" panose="020B0604020202020204" pitchFamily="34" charset="0"/>
              </a:rPr>
              <a:t>Bestandkunden Leben mit aktiven Verträgen</a:t>
            </a:r>
          </a:p>
          <a:p>
            <a:pPr lvl="2" defTabSz="864006">
              <a:spcAft>
                <a:spcPts val="283"/>
              </a:spcAft>
              <a:defRPr/>
            </a:pPr>
            <a:r>
              <a:rPr lang="de-DE" altLang="de-DE" sz="1050" kern="0" dirty="0" err="1">
                <a:solidFill>
                  <a:srgbClr val="003781"/>
                </a:solidFill>
                <a:latin typeface="+mj-lt"/>
                <a:cs typeface="Arial" panose="020B0604020202020204" pitchFamily="34" charset="0"/>
              </a:rPr>
              <a:t>PrivatRente</a:t>
            </a:r>
            <a:r>
              <a:rPr lang="de-DE" altLang="de-DE" sz="1050" kern="0" dirty="0">
                <a:solidFill>
                  <a:srgbClr val="003781"/>
                </a:solidFill>
                <a:latin typeface="+mj-lt"/>
                <a:cs typeface="Arial" panose="020B0604020202020204" pitchFamily="34" charset="0"/>
              </a:rPr>
              <a:t> EB/</a:t>
            </a:r>
            <a:r>
              <a:rPr lang="de-DE" altLang="de-DE" sz="1050" kern="0" dirty="0" err="1">
                <a:solidFill>
                  <a:srgbClr val="003781"/>
                </a:solidFill>
                <a:latin typeface="+mj-lt"/>
                <a:cs typeface="Arial" panose="020B0604020202020204" pitchFamily="34" charset="0"/>
              </a:rPr>
              <a:t>SchatzBrief</a:t>
            </a:r>
            <a:r>
              <a:rPr lang="de-DE" altLang="de-DE" sz="1050" kern="0" dirty="0">
                <a:solidFill>
                  <a:srgbClr val="003781"/>
                </a:solidFill>
                <a:latin typeface="+mj-lt"/>
                <a:cs typeface="Arial" panose="020B0604020202020204" pitchFamily="34" charset="0"/>
              </a:rPr>
              <a:t> ab 3.000 Euro</a:t>
            </a:r>
          </a:p>
          <a:p>
            <a:pPr lvl="2" defTabSz="864006">
              <a:spcAft>
                <a:spcPts val="283"/>
              </a:spcAft>
              <a:defRPr/>
            </a:pPr>
            <a:r>
              <a:rPr lang="de-DE" altLang="de-DE" sz="1050" kern="0" dirty="0">
                <a:solidFill>
                  <a:srgbClr val="003781"/>
                </a:solidFill>
                <a:latin typeface="+mj-lt"/>
                <a:cs typeface="Arial" panose="020B0604020202020204" pitchFamily="34" charset="0"/>
              </a:rPr>
              <a:t>mit einer Restlaufzeit &gt;=4 Jahren </a:t>
            </a:r>
          </a:p>
          <a:p>
            <a:pPr lvl="2" defTabSz="864006">
              <a:spcAft>
                <a:spcPts val="283"/>
              </a:spcAft>
              <a:defRPr/>
            </a:pPr>
            <a:r>
              <a:rPr lang="de-DE" altLang="de-DE" sz="1050" kern="0" dirty="0">
                <a:solidFill>
                  <a:srgbClr val="003781"/>
                </a:solidFill>
                <a:latin typeface="+mj-lt"/>
                <a:cs typeface="Arial" panose="020B0604020202020204" pitchFamily="34" charset="0"/>
              </a:rPr>
              <a:t>mit den Vorsorgekonzepten </a:t>
            </a:r>
            <a:r>
              <a:rPr lang="de-DE" altLang="de-DE" sz="1050" kern="0" dirty="0" err="1">
                <a:solidFill>
                  <a:srgbClr val="003781"/>
                </a:solidFill>
                <a:latin typeface="+mj-lt"/>
                <a:cs typeface="Arial" panose="020B0604020202020204" pitchFamily="34" charset="0"/>
              </a:rPr>
              <a:t>KomfortDynamik</a:t>
            </a:r>
            <a:r>
              <a:rPr lang="de-DE" altLang="de-DE" sz="1050" kern="0" dirty="0">
                <a:solidFill>
                  <a:srgbClr val="003781"/>
                </a:solidFill>
                <a:latin typeface="+mj-lt"/>
                <a:cs typeface="Arial" panose="020B0604020202020204" pitchFamily="34" charset="0"/>
              </a:rPr>
              <a:t>, Perspektive, </a:t>
            </a:r>
            <a:r>
              <a:rPr lang="de-DE" altLang="de-DE" sz="1050" kern="0" dirty="0" err="1">
                <a:solidFill>
                  <a:srgbClr val="003781"/>
                </a:solidFill>
                <a:latin typeface="+mj-lt"/>
                <a:cs typeface="Arial" panose="020B0604020202020204" pitchFamily="34" charset="0"/>
              </a:rPr>
              <a:t>InvestFlex</a:t>
            </a:r>
            <a:r>
              <a:rPr lang="de-DE" altLang="de-DE" sz="1050" kern="0" dirty="0">
                <a:solidFill>
                  <a:srgbClr val="003781"/>
                </a:solidFill>
                <a:latin typeface="+mj-lt"/>
                <a:cs typeface="Arial" panose="020B0604020202020204" pitchFamily="34" charset="0"/>
              </a:rPr>
              <a:t> (Green), </a:t>
            </a:r>
            <a:r>
              <a:rPr lang="de-DE" altLang="de-DE" sz="1050" kern="0" dirty="0" err="1">
                <a:solidFill>
                  <a:srgbClr val="003781"/>
                </a:solidFill>
                <a:latin typeface="+mj-lt"/>
                <a:cs typeface="Arial" panose="020B0604020202020204" pitchFamily="34" charset="0"/>
              </a:rPr>
              <a:t>Invest</a:t>
            </a:r>
            <a:r>
              <a:rPr lang="de-DE" altLang="de-DE" sz="1050" kern="0" dirty="0">
                <a:solidFill>
                  <a:srgbClr val="003781"/>
                </a:solidFill>
                <a:latin typeface="+mj-lt"/>
                <a:cs typeface="Arial" panose="020B0604020202020204" pitchFamily="34" charset="0"/>
              </a:rPr>
              <a:t>, </a:t>
            </a:r>
            <a:r>
              <a:rPr lang="de-DE" altLang="de-DE" sz="1050" kern="0" dirty="0" err="1">
                <a:solidFill>
                  <a:srgbClr val="003781"/>
                </a:solidFill>
                <a:latin typeface="+mj-lt"/>
                <a:cs typeface="Arial" panose="020B0604020202020204" pitchFamily="34" charset="0"/>
              </a:rPr>
              <a:t>Invest</a:t>
            </a:r>
            <a:r>
              <a:rPr lang="de-DE" altLang="de-DE" sz="1050" kern="0" dirty="0">
                <a:solidFill>
                  <a:srgbClr val="003781"/>
                </a:solidFill>
                <a:latin typeface="+mj-lt"/>
                <a:cs typeface="Arial" panose="020B0604020202020204" pitchFamily="34" charset="0"/>
              </a:rPr>
              <a:t> </a:t>
            </a:r>
            <a:r>
              <a:rPr lang="de-DE" altLang="de-DE" sz="1050" kern="0" dirty="0" err="1">
                <a:solidFill>
                  <a:srgbClr val="003781"/>
                </a:solidFill>
                <a:latin typeface="+mj-lt"/>
                <a:cs typeface="Arial" panose="020B0604020202020204" pitchFamily="34" charset="0"/>
              </a:rPr>
              <a:t>alphaBalance</a:t>
            </a:r>
            <a:r>
              <a:rPr lang="de-DE" altLang="de-DE" sz="1050" kern="0" dirty="0">
                <a:solidFill>
                  <a:srgbClr val="003781"/>
                </a:solidFill>
                <a:latin typeface="+mj-lt"/>
                <a:cs typeface="Arial" panose="020B0604020202020204" pitchFamily="34" charset="0"/>
              </a:rPr>
              <a:t>, </a:t>
            </a:r>
            <a:r>
              <a:rPr lang="de-DE" altLang="de-DE" sz="1050" kern="0" dirty="0" err="1">
                <a:solidFill>
                  <a:srgbClr val="003781"/>
                </a:solidFill>
                <a:latin typeface="+mj-lt"/>
                <a:cs typeface="Arial" panose="020B0604020202020204" pitchFamily="34" charset="0"/>
              </a:rPr>
              <a:t>InvestGarantie</a:t>
            </a:r>
            <a:endParaRPr lang="de-DE" altLang="de-DE" sz="1050" kern="0" dirty="0">
              <a:solidFill>
                <a:srgbClr val="003781"/>
              </a:solidFill>
              <a:latin typeface="+mj-lt"/>
              <a:cs typeface="Arial" panose="020B0604020202020204" pitchFamily="34" charset="0"/>
            </a:endParaRPr>
          </a:p>
          <a:p>
            <a:pPr lvl="2" defTabSz="864006">
              <a:spcAft>
                <a:spcPts val="283"/>
              </a:spcAft>
              <a:defRPr/>
            </a:pPr>
            <a:r>
              <a:rPr lang="de-DE" altLang="de-DE" sz="1050" kern="0" dirty="0">
                <a:solidFill>
                  <a:srgbClr val="003781"/>
                </a:solidFill>
                <a:latin typeface="+mj-lt"/>
                <a:cs typeface="Arial" panose="020B0604020202020204" pitchFamily="34" charset="0"/>
              </a:rPr>
              <a:t>VN-Alter zwischen 18 und 75 Jahre </a:t>
            </a:r>
          </a:p>
          <a:p>
            <a:pPr marL="0" lvl="2" indent="0" defTabSz="864006">
              <a:spcAft>
                <a:spcPts val="283"/>
              </a:spcAft>
              <a:buNone/>
              <a:defRPr/>
            </a:pPr>
            <a:endParaRPr lang="de-DE" altLang="de-DE" sz="1050" kern="0" dirty="0">
              <a:solidFill>
                <a:srgbClr val="003781"/>
              </a:solidFill>
              <a:latin typeface="+mj-lt"/>
              <a:cs typeface="Arial" panose="020B0604020202020204" pitchFamily="34" charset="0"/>
            </a:endParaRPr>
          </a:p>
          <a:p>
            <a:pPr marL="0" lvl="2" indent="0" defTabSz="864006">
              <a:spcAft>
                <a:spcPts val="283"/>
              </a:spcAft>
              <a:buNone/>
              <a:defRPr/>
            </a:pPr>
            <a:r>
              <a:rPr lang="de-DE" altLang="de-DE" sz="1050" b="1" u="sng" kern="0" dirty="0">
                <a:solidFill>
                  <a:srgbClr val="003781"/>
                </a:solidFill>
                <a:latin typeface="+mj-lt"/>
                <a:cs typeface="Arial" panose="020B0604020202020204" pitchFamily="34" charset="0"/>
              </a:rPr>
              <a:t>Ausschlüsse</a:t>
            </a:r>
          </a:p>
          <a:p>
            <a:pPr lvl="2" defTabSz="864006">
              <a:spcAft>
                <a:spcPts val="283"/>
              </a:spcAft>
              <a:defRPr/>
            </a:pPr>
            <a:r>
              <a:rPr lang="de-DE" altLang="de-DE" sz="1050" kern="0" dirty="0">
                <a:solidFill>
                  <a:srgbClr val="003781"/>
                </a:solidFill>
                <a:latin typeface="+mj-lt"/>
                <a:cs typeface="Arial" panose="020B0604020202020204" pitchFamily="34" charset="0"/>
              </a:rPr>
              <a:t>Verträge mit Beginn in 2024</a:t>
            </a:r>
          </a:p>
          <a:p>
            <a:pPr lvl="2" defTabSz="864006">
              <a:spcAft>
                <a:spcPts val="283"/>
              </a:spcAft>
              <a:defRPr/>
            </a:pPr>
            <a:r>
              <a:rPr lang="de-DE" altLang="de-DE" sz="1050" kern="0" dirty="0">
                <a:solidFill>
                  <a:srgbClr val="003781"/>
                </a:solidFill>
                <a:latin typeface="+mj-lt"/>
                <a:cs typeface="Arial" panose="020B0604020202020204" pitchFamily="34" charset="0"/>
              </a:rPr>
              <a:t>Verträge mit Vertragsbeginn vor 2005</a:t>
            </a:r>
          </a:p>
          <a:p>
            <a:pPr lvl="2" defTabSz="864006">
              <a:spcAft>
                <a:spcPts val="283"/>
              </a:spcAft>
              <a:defRPr/>
            </a:pPr>
            <a:r>
              <a:rPr lang="de-DE" altLang="de-DE" sz="1050" kern="0" dirty="0">
                <a:solidFill>
                  <a:srgbClr val="003781"/>
                </a:solidFill>
                <a:latin typeface="+mj-lt"/>
                <a:cs typeface="Arial" panose="020B0604020202020204" pitchFamily="34" charset="0"/>
              </a:rPr>
              <a:t>Verträge mit bereits erfolgter Erhöhung/Entnahme im Vertragsjahr 2024/2025</a:t>
            </a:r>
          </a:p>
          <a:p>
            <a:pPr lvl="2" defTabSz="864006">
              <a:spcAft>
                <a:spcPts val="283"/>
              </a:spcAft>
              <a:defRPr/>
            </a:pPr>
            <a:r>
              <a:rPr lang="de-DE" altLang="de-DE" sz="1050" kern="0" dirty="0">
                <a:solidFill>
                  <a:srgbClr val="003781"/>
                </a:solidFill>
                <a:latin typeface="+mj-lt"/>
                <a:cs typeface="Arial" panose="020B0604020202020204" pitchFamily="34" charset="0"/>
              </a:rPr>
              <a:t>Verträge mit Kennzeichen „novationsgefährdet“</a:t>
            </a:r>
          </a:p>
          <a:p>
            <a:pPr lvl="2" defTabSz="864006">
              <a:spcAft>
                <a:spcPts val="283"/>
              </a:spcAft>
              <a:defRPr/>
            </a:pPr>
            <a:r>
              <a:rPr lang="de-DE" altLang="de-DE" sz="1050" kern="0" dirty="0">
                <a:solidFill>
                  <a:srgbClr val="003781"/>
                </a:solidFill>
                <a:latin typeface="+mj-lt"/>
                <a:cs typeface="Arial" panose="020B0604020202020204" pitchFamily="34" charset="0"/>
              </a:rPr>
              <a:t>Verträge &lt;3.000€</a:t>
            </a:r>
          </a:p>
          <a:p>
            <a:pPr lvl="2" defTabSz="864006">
              <a:spcAft>
                <a:spcPts val="283"/>
              </a:spcAft>
              <a:defRPr/>
            </a:pPr>
            <a:r>
              <a:rPr lang="de-DE" altLang="de-DE" sz="1050" kern="0" dirty="0">
                <a:solidFill>
                  <a:srgbClr val="003781"/>
                </a:solidFill>
                <a:latin typeface="+mj-lt"/>
                <a:cs typeface="Arial" panose="020B0604020202020204" pitchFamily="34" charset="0"/>
              </a:rPr>
              <a:t>Verträge mit einer Restlaufzeit &lt;4 Jahre</a:t>
            </a:r>
          </a:p>
          <a:p>
            <a:pPr lvl="2" defTabSz="864006">
              <a:spcAft>
                <a:spcPts val="283"/>
              </a:spcAft>
              <a:defRPr/>
            </a:pPr>
            <a:r>
              <a:rPr lang="de-DE" altLang="de-DE" sz="1050" kern="0" dirty="0">
                <a:solidFill>
                  <a:srgbClr val="003781"/>
                </a:solidFill>
                <a:latin typeface="+mj-lt"/>
                <a:cs typeface="Arial" panose="020B0604020202020204" pitchFamily="34" charset="0"/>
              </a:rPr>
              <a:t>Standardausschlüsse</a:t>
            </a:r>
            <a:br>
              <a:rPr lang="de-DE" altLang="de-DE" sz="1000" kern="0" dirty="0">
                <a:solidFill>
                  <a:srgbClr val="003781"/>
                </a:solidFill>
                <a:latin typeface="+mj-lt"/>
                <a:cs typeface="Arial" panose="020B0604020202020204" pitchFamily="34" charset="0"/>
              </a:rPr>
            </a:br>
            <a:endParaRPr lang="de-DE" altLang="de-DE" sz="1000" kern="0" dirty="0">
              <a:solidFill>
                <a:srgbClr val="003781"/>
              </a:solidFill>
              <a:latin typeface="+mj-lt"/>
              <a:cs typeface="Arial" panose="020B0604020202020204" pitchFamily="34" charset="0"/>
            </a:endParaRPr>
          </a:p>
        </p:txBody>
      </p:sp>
      <p:cxnSp>
        <p:nvCxnSpPr>
          <p:cNvPr id="81" name="Gerader Verbinder 80">
            <a:extLst>
              <a:ext uri="{FF2B5EF4-FFF2-40B4-BE49-F238E27FC236}">
                <a16:creationId xmlns:a16="http://schemas.microsoft.com/office/drawing/2014/main" id="{E7640863-8014-404E-A750-1C6D1E5FAA21}"/>
              </a:ext>
            </a:extLst>
          </p:cNvPr>
          <p:cNvCxnSpPr>
            <a:cxnSpLocks/>
          </p:cNvCxnSpPr>
          <p:nvPr/>
        </p:nvCxnSpPr>
        <p:spPr>
          <a:xfrm>
            <a:off x="5262076" y="2047135"/>
            <a:ext cx="5479" cy="3708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echteck 1"/>
          <p:cNvSpPr/>
          <p:nvPr/>
        </p:nvSpPr>
        <p:spPr>
          <a:xfrm>
            <a:off x="490628" y="2000486"/>
            <a:ext cx="2173102" cy="325025"/>
          </a:xfrm>
          <a:prstGeom prst="rect">
            <a:avLst/>
          </a:prstGeom>
        </p:spPr>
        <p:txBody>
          <a:bodyPr wrap="square">
            <a:spAutoFit/>
          </a:bodyPr>
          <a:lstStyle/>
          <a:p>
            <a:pPr defTabSz="1298185">
              <a:spcAft>
                <a:spcPts val="567"/>
              </a:spcAft>
              <a:defRPr/>
            </a:pPr>
            <a:r>
              <a:rPr lang="de-DE" sz="1512" b="1" u="sng" dirty="0">
                <a:solidFill>
                  <a:srgbClr val="003781"/>
                </a:solidFill>
                <a:latin typeface="+mj-lt"/>
                <a:cs typeface="Arial" panose="020B0604020202020204" pitchFamily="34" charset="0"/>
              </a:rPr>
              <a:t>Brief Zuzahlung</a:t>
            </a:r>
          </a:p>
        </p:txBody>
      </p:sp>
      <p:sp>
        <p:nvSpPr>
          <p:cNvPr id="15" name="Rechteck 14"/>
          <p:cNvSpPr/>
          <p:nvPr/>
        </p:nvSpPr>
        <p:spPr>
          <a:xfrm>
            <a:off x="5616043" y="2000486"/>
            <a:ext cx="4503989" cy="325025"/>
          </a:xfrm>
          <a:prstGeom prst="rect">
            <a:avLst/>
          </a:prstGeom>
        </p:spPr>
        <p:txBody>
          <a:bodyPr wrap="square">
            <a:spAutoFit/>
          </a:bodyPr>
          <a:lstStyle/>
          <a:p>
            <a:pPr defTabSz="1298185">
              <a:spcAft>
                <a:spcPts val="567"/>
              </a:spcAft>
              <a:defRPr/>
            </a:pPr>
            <a:r>
              <a:rPr lang="de-DE" sz="1512" b="1" u="sng">
                <a:solidFill>
                  <a:srgbClr val="003781"/>
                </a:solidFill>
                <a:latin typeface="+mj-lt"/>
                <a:cs typeface="Arial" panose="020B0604020202020204" pitchFamily="34" charset="0"/>
              </a:rPr>
              <a:t>Brief Neuabschluss</a:t>
            </a:r>
          </a:p>
        </p:txBody>
      </p:sp>
      <p:sp>
        <p:nvSpPr>
          <p:cNvPr id="17" name="Inhaltsplatzhalter 8">
            <a:extLst>
              <a:ext uri="{FF2B5EF4-FFF2-40B4-BE49-F238E27FC236}">
                <a16:creationId xmlns:a16="http://schemas.microsoft.com/office/drawing/2014/main" id="{EFEA0999-7791-4F4B-8AB8-C15542F07BB4}"/>
              </a:ext>
            </a:extLst>
          </p:cNvPr>
          <p:cNvSpPr txBox="1">
            <a:spLocks/>
          </p:cNvSpPr>
          <p:nvPr/>
        </p:nvSpPr>
        <p:spPr>
          <a:xfrm>
            <a:off x="5699933" y="2367456"/>
            <a:ext cx="4503989" cy="3417678"/>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lvl="2" indent="0" defTabSz="864006">
              <a:spcAft>
                <a:spcPts val="283"/>
              </a:spcAft>
              <a:buNone/>
              <a:defRPr/>
            </a:pPr>
            <a:r>
              <a:rPr lang="de-DE" sz="1050" dirty="0">
                <a:solidFill>
                  <a:srgbClr val="003781"/>
                </a:solidFill>
                <a:latin typeface="+mj-lt"/>
                <a:cs typeface="Arial" panose="020B0604020202020204" pitchFamily="34" charset="0"/>
              </a:rPr>
              <a:t>Selektiert werden Kunden mit nachfolgenden Merkmalen:</a:t>
            </a:r>
          </a:p>
          <a:p>
            <a:pPr marL="0" lvl="2" indent="0" defTabSz="864006">
              <a:spcAft>
                <a:spcPts val="283"/>
              </a:spcAft>
              <a:buNone/>
              <a:defRPr/>
            </a:pPr>
            <a:r>
              <a:rPr lang="de-DE" altLang="de-DE" sz="1050" b="1" u="sng" kern="0" dirty="0">
                <a:solidFill>
                  <a:srgbClr val="003781"/>
                </a:solidFill>
                <a:latin typeface="+mj-lt"/>
                <a:cs typeface="Arial" panose="020B0604020202020204" pitchFamily="34" charset="0"/>
              </a:rPr>
              <a:t>Bestandkunden Leben mit aktiven Verträgen</a:t>
            </a:r>
          </a:p>
          <a:p>
            <a:pPr lvl="2" defTabSz="864006">
              <a:spcAft>
                <a:spcPts val="283"/>
              </a:spcAft>
              <a:defRPr/>
            </a:pPr>
            <a:r>
              <a:rPr lang="de-DE" altLang="de-DE" sz="1050" kern="0" dirty="0" err="1">
                <a:solidFill>
                  <a:srgbClr val="003781"/>
                </a:solidFill>
                <a:latin typeface="+mj-lt"/>
                <a:cs typeface="Arial" panose="020B0604020202020204" pitchFamily="34" charset="0"/>
              </a:rPr>
              <a:t>PrivatFinancePolice</a:t>
            </a:r>
            <a:endParaRPr lang="de-DE" altLang="de-DE" sz="1050" kern="0" dirty="0">
              <a:solidFill>
                <a:srgbClr val="003781"/>
              </a:solidFill>
              <a:latin typeface="+mj-lt"/>
              <a:cs typeface="Arial" panose="020B0604020202020204" pitchFamily="34" charset="0"/>
            </a:endParaRPr>
          </a:p>
          <a:p>
            <a:pPr lvl="2" defTabSz="864006">
              <a:spcAft>
                <a:spcPts val="283"/>
              </a:spcAft>
              <a:defRPr/>
            </a:pPr>
            <a:r>
              <a:rPr lang="de-DE" altLang="de-DE" sz="1050" kern="0" dirty="0">
                <a:solidFill>
                  <a:srgbClr val="003781"/>
                </a:solidFill>
                <a:latin typeface="+mj-lt"/>
                <a:cs typeface="Arial" panose="020B0604020202020204" pitchFamily="34" charset="0"/>
              </a:rPr>
              <a:t>Vermögenspolice EB – alle Vorsorgekonzepte </a:t>
            </a:r>
          </a:p>
          <a:p>
            <a:pPr lvl="2" defTabSz="864006">
              <a:spcAft>
                <a:spcPts val="283"/>
              </a:spcAft>
              <a:defRPr/>
            </a:pPr>
            <a:r>
              <a:rPr lang="de-DE" altLang="de-DE" sz="1050" kern="0" dirty="0" err="1">
                <a:solidFill>
                  <a:srgbClr val="003781"/>
                </a:solidFill>
                <a:latin typeface="+mj-lt"/>
                <a:cs typeface="Arial" panose="020B0604020202020204" pitchFamily="34" charset="0"/>
              </a:rPr>
              <a:t>ParkDepot</a:t>
            </a:r>
            <a:r>
              <a:rPr lang="de-DE" altLang="de-DE" sz="1050" kern="0" dirty="0">
                <a:solidFill>
                  <a:srgbClr val="003781"/>
                </a:solidFill>
                <a:latin typeface="+mj-lt"/>
                <a:cs typeface="Arial" panose="020B0604020202020204" pitchFamily="34" charset="0"/>
              </a:rPr>
              <a:t>(Wiederanlage) - nur Anlagen ab 3.000 € bis 250.000 €</a:t>
            </a:r>
          </a:p>
          <a:p>
            <a:pPr lvl="2" defTabSz="864006">
              <a:spcAft>
                <a:spcPts val="283"/>
              </a:spcAft>
              <a:defRPr/>
            </a:pPr>
            <a:r>
              <a:rPr lang="de-DE" altLang="de-DE" sz="1050" kern="0" dirty="0">
                <a:solidFill>
                  <a:srgbClr val="003781"/>
                </a:solidFill>
                <a:latin typeface="+mj-lt"/>
                <a:cs typeface="Arial" panose="020B0604020202020204" pitchFamily="34" charset="0"/>
              </a:rPr>
              <a:t>VN-Alter zwischen 18 und 75 Jahren</a:t>
            </a:r>
          </a:p>
          <a:p>
            <a:pPr marL="0" lvl="2" indent="0" defTabSz="864006">
              <a:spcAft>
                <a:spcPts val="283"/>
              </a:spcAft>
              <a:buNone/>
              <a:defRPr/>
            </a:pPr>
            <a:r>
              <a:rPr lang="de-DE" altLang="de-DE" sz="1050" kern="0" dirty="0">
                <a:solidFill>
                  <a:srgbClr val="003781"/>
                </a:solidFill>
                <a:latin typeface="+mj-lt"/>
                <a:cs typeface="Arial" panose="020B0604020202020204" pitchFamily="34" charset="0"/>
              </a:rPr>
              <a:t>sowie</a:t>
            </a:r>
            <a:endParaRPr lang="de-DE" altLang="de-DE" sz="1050" b="1" u="sng" kern="0" dirty="0">
              <a:solidFill>
                <a:srgbClr val="003781"/>
              </a:solidFill>
              <a:latin typeface="+mj-lt"/>
              <a:cs typeface="Arial" panose="020B0604020202020204" pitchFamily="34" charset="0"/>
            </a:endParaRPr>
          </a:p>
          <a:p>
            <a:pPr marL="0" lvl="2" indent="0" defTabSz="864006">
              <a:spcAft>
                <a:spcPts val="283"/>
              </a:spcAft>
              <a:buNone/>
              <a:defRPr/>
            </a:pPr>
            <a:r>
              <a:rPr lang="de-DE" altLang="de-DE" sz="1050" b="1" u="sng" kern="0" dirty="0">
                <a:solidFill>
                  <a:srgbClr val="003781"/>
                </a:solidFill>
                <a:latin typeface="+mj-lt"/>
                <a:cs typeface="Arial" panose="020B0604020202020204" pitchFamily="34" charset="0"/>
              </a:rPr>
              <a:t>Alle nicht-zuzahlungsfähigen Verträge </a:t>
            </a:r>
            <a:r>
              <a:rPr lang="de-DE" altLang="de-DE" sz="1050" b="1" u="sng" kern="0" dirty="0" err="1">
                <a:solidFill>
                  <a:srgbClr val="003781"/>
                </a:solidFill>
                <a:latin typeface="+mj-lt"/>
                <a:cs typeface="Arial" panose="020B0604020202020204" pitchFamily="34" charset="0"/>
              </a:rPr>
              <a:t>SchatzBrief</a:t>
            </a:r>
            <a:r>
              <a:rPr lang="de-DE" altLang="de-DE" sz="1050" b="1" u="sng" kern="0" dirty="0">
                <a:solidFill>
                  <a:srgbClr val="003781"/>
                </a:solidFill>
                <a:latin typeface="+mj-lt"/>
                <a:cs typeface="Arial" panose="020B0604020202020204" pitchFamily="34" charset="0"/>
              </a:rPr>
              <a:t> und </a:t>
            </a:r>
            <a:r>
              <a:rPr lang="de-DE" altLang="de-DE" sz="1050" b="1" u="sng" kern="0" dirty="0" err="1">
                <a:solidFill>
                  <a:srgbClr val="003781"/>
                </a:solidFill>
                <a:latin typeface="+mj-lt"/>
                <a:cs typeface="Arial" panose="020B0604020202020204" pitchFamily="34" charset="0"/>
              </a:rPr>
              <a:t>PrivatRente</a:t>
            </a:r>
            <a:r>
              <a:rPr lang="de-DE" altLang="de-DE" sz="1050" b="1" u="sng" kern="0" dirty="0">
                <a:solidFill>
                  <a:srgbClr val="003781"/>
                </a:solidFill>
                <a:latin typeface="+mj-lt"/>
                <a:cs typeface="Arial" panose="020B0604020202020204" pitchFamily="34" charset="0"/>
              </a:rPr>
              <a:t> EB bzw. Verträge, zu denen wir keine Ansprache auf eine Zuzahlung empfehlen</a:t>
            </a:r>
          </a:p>
          <a:p>
            <a:pPr lvl="2" defTabSz="864006">
              <a:spcAft>
                <a:spcPts val="283"/>
              </a:spcAft>
              <a:defRPr/>
            </a:pPr>
            <a:r>
              <a:rPr lang="de-DE" altLang="de-DE" sz="1050" kern="0" dirty="0" err="1">
                <a:solidFill>
                  <a:srgbClr val="003781"/>
                </a:solidFill>
                <a:latin typeface="+mj-lt"/>
                <a:cs typeface="Arial" panose="020B0604020202020204" pitchFamily="34" charset="0"/>
              </a:rPr>
              <a:t>SchatzBrief</a:t>
            </a:r>
            <a:r>
              <a:rPr lang="de-DE" altLang="de-DE" sz="1050" kern="0" dirty="0">
                <a:solidFill>
                  <a:srgbClr val="003781"/>
                </a:solidFill>
                <a:latin typeface="+mj-lt"/>
                <a:cs typeface="Arial" panose="020B0604020202020204" pitchFamily="34" charset="0"/>
              </a:rPr>
              <a:t> Klassik, </a:t>
            </a:r>
            <a:r>
              <a:rPr lang="de-DE" altLang="de-DE" sz="1050" kern="0" dirty="0" err="1">
                <a:solidFill>
                  <a:srgbClr val="003781"/>
                </a:solidFill>
                <a:latin typeface="+mj-lt"/>
                <a:cs typeface="Arial" panose="020B0604020202020204" pitchFamily="34" charset="0"/>
              </a:rPr>
              <a:t>SchatzBrief</a:t>
            </a:r>
            <a:r>
              <a:rPr lang="de-DE" altLang="de-DE" sz="1050" kern="0" dirty="0">
                <a:solidFill>
                  <a:srgbClr val="003781"/>
                </a:solidFill>
                <a:latin typeface="+mj-lt"/>
                <a:cs typeface="Arial" panose="020B0604020202020204" pitchFamily="34" charset="0"/>
              </a:rPr>
              <a:t> </a:t>
            </a:r>
            <a:r>
              <a:rPr lang="de-DE" altLang="de-DE" sz="1050" kern="0" dirty="0" err="1">
                <a:solidFill>
                  <a:srgbClr val="003781"/>
                </a:solidFill>
                <a:latin typeface="+mj-lt"/>
                <a:cs typeface="Arial" panose="020B0604020202020204" pitchFamily="34" charset="0"/>
              </a:rPr>
              <a:t>IndexSelect</a:t>
            </a:r>
            <a:r>
              <a:rPr lang="de-DE" altLang="de-DE" sz="1050" kern="0" dirty="0">
                <a:solidFill>
                  <a:srgbClr val="003781"/>
                </a:solidFill>
                <a:latin typeface="+mj-lt"/>
                <a:cs typeface="Arial" panose="020B0604020202020204" pitchFamily="34" charset="0"/>
              </a:rPr>
              <a:t> (Plus), </a:t>
            </a:r>
            <a:r>
              <a:rPr lang="de-DE" altLang="de-DE" sz="1050" kern="0" dirty="0" err="1">
                <a:solidFill>
                  <a:srgbClr val="003781"/>
                </a:solidFill>
                <a:latin typeface="+mj-lt"/>
                <a:cs typeface="Arial" panose="020B0604020202020204" pitchFamily="34" charset="0"/>
              </a:rPr>
              <a:t>SchatzBrief</a:t>
            </a:r>
            <a:r>
              <a:rPr lang="de-DE" altLang="de-DE" sz="1050" kern="0" dirty="0">
                <a:solidFill>
                  <a:srgbClr val="003781"/>
                </a:solidFill>
                <a:latin typeface="+mj-lt"/>
                <a:cs typeface="Arial" panose="020B0604020202020204" pitchFamily="34" charset="0"/>
              </a:rPr>
              <a:t> </a:t>
            </a:r>
            <a:r>
              <a:rPr lang="de-DE" altLang="de-DE" sz="1050" kern="0" dirty="0" err="1">
                <a:solidFill>
                  <a:srgbClr val="003781"/>
                </a:solidFill>
                <a:latin typeface="+mj-lt"/>
                <a:cs typeface="Arial" panose="020B0604020202020204" pitchFamily="34" charset="0"/>
              </a:rPr>
              <a:t>AktivDepot</a:t>
            </a:r>
            <a:endParaRPr lang="de-DE" altLang="de-DE" sz="1050" kern="0" dirty="0">
              <a:solidFill>
                <a:srgbClr val="003781"/>
              </a:solidFill>
              <a:latin typeface="+mj-lt"/>
              <a:cs typeface="Arial" panose="020B0604020202020204" pitchFamily="34" charset="0"/>
            </a:endParaRPr>
          </a:p>
          <a:p>
            <a:pPr lvl="2" defTabSz="864006">
              <a:spcAft>
                <a:spcPts val="283"/>
              </a:spcAft>
              <a:defRPr/>
            </a:pPr>
            <a:r>
              <a:rPr lang="de-DE" altLang="de-DE" sz="1050" kern="0" dirty="0" err="1">
                <a:solidFill>
                  <a:srgbClr val="003781"/>
                </a:solidFill>
                <a:latin typeface="+mj-lt"/>
                <a:cs typeface="Arial" panose="020B0604020202020204" pitchFamily="34" charset="0"/>
              </a:rPr>
              <a:t>PrivatRente</a:t>
            </a:r>
            <a:r>
              <a:rPr lang="de-DE" altLang="de-DE" sz="1050" kern="0" dirty="0">
                <a:solidFill>
                  <a:srgbClr val="003781"/>
                </a:solidFill>
                <a:latin typeface="+mj-lt"/>
                <a:cs typeface="Arial" panose="020B0604020202020204" pitchFamily="34" charset="0"/>
              </a:rPr>
              <a:t> EB Klassik, </a:t>
            </a:r>
            <a:r>
              <a:rPr lang="de-DE" altLang="de-DE" sz="1050" kern="0" dirty="0" err="1">
                <a:solidFill>
                  <a:srgbClr val="003781"/>
                </a:solidFill>
                <a:latin typeface="+mj-lt"/>
                <a:cs typeface="Arial" panose="020B0604020202020204" pitchFamily="34" charset="0"/>
              </a:rPr>
              <a:t>PrivatRente</a:t>
            </a:r>
            <a:r>
              <a:rPr lang="de-DE" altLang="de-DE" sz="1050" kern="0" dirty="0">
                <a:solidFill>
                  <a:srgbClr val="003781"/>
                </a:solidFill>
                <a:latin typeface="+mj-lt"/>
                <a:cs typeface="Arial" panose="020B0604020202020204" pitchFamily="34" charset="0"/>
              </a:rPr>
              <a:t> EB </a:t>
            </a:r>
            <a:r>
              <a:rPr lang="de-DE" altLang="de-DE" sz="1050" kern="0" dirty="0" err="1">
                <a:solidFill>
                  <a:srgbClr val="003781"/>
                </a:solidFill>
                <a:latin typeface="+mj-lt"/>
                <a:cs typeface="Arial" panose="020B0604020202020204" pitchFamily="34" charset="0"/>
              </a:rPr>
              <a:t>IndexSelect</a:t>
            </a:r>
            <a:r>
              <a:rPr lang="de-DE" altLang="de-DE" sz="1050" kern="0" dirty="0">
                <a:solidFill>
                  <a:srgbClr val="003781"/>
                </a:solidFill>
                <a:latin typeface="+mj-lt"/>
                <a:cs typeface="Arial" panose="020B0604020202020204" pitchFamily="34" charset="0"/>
              </a:rPr>
              <a:t> (Plus)</a:t>
            </a:r>
          </a:p>
          <a:p>
            <a:pPr lvl="2" defTabSz="864006">
              <a:spcAft>
                <a:spcPts val="283"/>
              </a:spcAft>
              <a:defRPr/>
            </a:pPr>
            <a:r>
              <a:rPr lang="de-DE" altLang="de-DE" sz="1050" kern="0" dirty="0" err="1">
                <a:solidFill>
                  <a:srgbClr val="003781"/>
                </a:solidFill>
                <a:latin typeface="+mj-lt"/>
                <a:cs typeface="Arial" panose="020B0604020202020204" pitchFamily="34" charset="0"/>
              </a:rPr>
              <a:t>SchatzBrief</a:t>
            </a:r>
            <a:r>
              <a:rPr lang="de-DE" altLang="de-DE" sz="1050" kern="0" dirty="0">
                <a:solidFill>
                  <a:srgbClr val="003781"/>
                </a:solidFill>
                <a:latin typeface="+mj-lt"/>
                <a:cs typeface="Arial" panose="020B0604020202020204" pitchFamily="34" charset="0"/>
              </a:rPr>
              <a:t> und </a:t>
            </a:r>
            <a:r>
              <a:rPr lang="de-DE" altLang="de-DE" sz="1050" kern="0" dirty="0" err="1">
                <a:solidFill>
                  <a:srgbClr val="003781"/>
                </a:solidFill>
                <a:latin typeface="+mj-lt"/>
                <a:cs typeface="Arial" panose="020B0604020202020204" pitchFamily="34" charset="0"/>
              </a:rPr>
              <a:t>PrivatRenten</a:t>
            </a:r>
            <a:r>
              <a:rPr lang="de-DE" altLang="de-DE" sz="1050" kern="0" dirty="0">
                <a:solidFill>
                  <a:srgbClr val="003781"/>
                </a:solidFill>
                <a:latin typeface="+mj-lt"/>
                <a:cs typeface="Arial" panose="020B0604020202020204" pitchFamily="34" charset="0"/>
              </a:rPr>
              <a:t> EB, die wir aus dem Brief Zuzahlung ausgeschlossen haben (siehe Ausschlüsse) </a:t>
            </a:r>
          </a:p>
          <a:p>
            <a:pPr lvl="2" defTabSz="864006">
              <a:spcAft>
                <a:spcPts val="283"/>
              </a:spcAft>
              <a:defRPr/>
            </a:pPr>
            <a:r>
              <a:rPr lang="de-DE" altLang="de-DE" sz="1050" kern="0" dirty="0">
                <a:solidFill>
                  <a:srgbClr val="003781"/>
                </a:solidFill>
                <a:latin typeface="+mj-lt"/>
                <a:cs typeface="Arial" panose="020B0604020202020204" pitchFamily="34" charset="0"/>
              </a:rPr>
              <a:t>VN-Alter zwischen 18 und 75 Jahren</a:t>
            </a:r>
          </a:p>
          <a:p>
            <a:pPr lvl="2" defTabSz="864006">
              <a:spcAft>
                <a:spcPts val="283"/>
              </a:spcAft>
              <a:defRPr/>
            </a:pPr>
            <a:endParaRPr lang="de-DE" altLang="de-DE" sz="1050" kern="0" dirty="0">
              <a:solidFill>
                <a:srgbClr val="003781"/>
              </a:solidFill>
              <a:latin typeface="+mj-lt"/>
              <a:cs typeface="Arial" panose="020B0604020202020204" pitchFamily="34" charset="0"/>
            </a:endParaRPr>
          </a:p>
          <a:p>
            <a:pPr marL="0" lvl="2" indent="0" defTabSz="864006">
              <a:spcAft>
                <a:spcPts val="283"/>
              </a:spcAft>
              <a:buNone/>
              <a:defRPr/>
            </a:pPr>
            <a:r>
              <a:rPr lang="de-DE" altLang="de-DE" sz="1050" b="1" u="sng" kern="0" dirty="0">
                <a:solidFill>
                  <a:srgbClr val="003781"/>
                </a:solidFill>
                <a:latin typeface="+mj-lt"/>
                <a:cs typeface="Arial" panose="020B0604020202020204" pitchFamily="34" charset="0"/>
              </a:rPr>
              <a:t>Ausschlüsse</a:t>
            </a:r>
          </a:p>
          <a:p>
            <a:pPr lvl="2" defTabSz="864006">
              <a:spcAft>
                <a:spcPts val="283"/>
              </a:spcAft>
              <a:defRPr/>
            </a:pPr>
            <a:r>
              <a:rPr lang="de-DE" altLang="de-DE" sz="1050" kern="0" dirty="0">
                <a:solidFill>
                  <a:srgbClr val="003781"/>
                </a:solidFill>
                <a:latin typeface="+mj-lt"/>
                <a:cs typeface="Arial" panose="020B0604020202020204" pitchFamily="34" charset="0"/>
              </a:rPr>
              <a:t>Standardausschlüsse</a:t>
            </a:r>
          </a:p>
          <a:p>
            <a:pPr lvl="2" defTabSz="864006">
              <a:spcAft>
                <a:spcPts val="283"/>
              </a:spcAft>
              <a:defRPr/>
            </a:pPr>
            <a:r>
              <a:rPr lang="de-DE" altLang="de-DE" sz="1050" kern="0" dirty="0">
                <a:solidFill>
                  <a:srgbClr val="003781"/>
                </a:solidFill>
                <a:latin typeface="+mj-lt"/>
                <a:cs typeface="Arial" panose="020B0604020202020204" pitchFamily="34" charset="0"/>
              </a:rPr>
              <a:t>Verträge mit mehr als 2 Versicherungsnehmern</a:t>
            </a:r>
          </a:p>
          <a:p>
            <a:pPr lvl="2" defTabSz="864006">
              <a:spcAft>
                <a:spcPts val="283"/>
              </a:spcAft>
              <a:defRPr/>
            </a:pPr>
            <a:endParaRPr lang="de-DE" altLang="de-DE" sz="1000" kern="0" dirty="0">
              <a:solidFill>
                <a:srgbClr val="003781"/>
              </a:solidFill>
              <a:latin typeface="+mj-lt"/>
              <a:cs typeface="Arial" panose="020B0604020202020204" pitchFamily="34" charset="0"/>
            </a:endParaRPr>
          </a:p>
          <a:p>
            <a:pPr lvl="2" defTabSz="864006">
              <a:spcAft>
                <a:spcPts val="283"/>
              </a:spcAft>
              <a:defRPr/>
            </a:pPr>
            <a:endParaRPr lang="de-DE" altLang="de-DE" sz="1000" kern="0" dirty="0">
              <a:solidFill>
                <a:srgbClr val="003781"/>
              </a:solidFill>
              <a:latin typeface="+mj-lt"/>
              <a:cs typeface="Arial" panose="020B0604020202020204" pitchFamily="34" charset="0"/>
            </a:endParaRPr>
          </a:p>
          <a:p>
            <a:pPr marL="0" lvl="2" indent="0" defTabSz="864006">
              <a:spcAft>
                <a:spcPts val="283"/>
              </a:spcAft>
              <a:buNone/>
              <a:defRPr/>
            </a:pPr>
            <a:br>
              <a:rPr lang="de-DE" altLang="de-DE" sz="1000" kern="0" dirty="0">
                <a:solidFill>
                  <a:srgbClr val="003781"/>
                </a:solidFill>
                <a:latin typeface="+mj-lt"/>
                <a:cs typeface="Arial" panose="020B0604020202020204" pitchFamily="34" charset="0"/>
              </a:rPr>
            </a:br>
            <a:endParaRPr lang="de-DE" altLang="de-DE" sz="1000" kern="0" dirty="0">
              <a:solidFill>
                <a:srgbClr val="003781"/>
              </a:solidFill>
              <a:latin typeface="+mj-lt"/>
              <a:cs typeface="Arial" panose="020B0604020202020204" pitchFamily="34" charset="0"/>
            </a:endParaRPr>
          </a:p>
        </p:txBody>
      </p:sp>
      <p:sp>
        <p:nvSpPr>
          <p:cNvPr id="12" name="Textfeld 11">
            <a:extLst>
              <a:ext uri="{FF2B5EF4-FFF2-40B4-BE49-F238E27FC236}">
                <a16:creationId xmlns:a16="http://schemas.microsoft.com/office/drawing/2014/main" id="{CED220EE-0716-C301-8995-50B88463AC5F}"/>
              </a:ext>
            </a:extLst>
          </p:cNvPr>
          <p:cNvSpPr txBox="1"/>
          <p:nvPr/>
        </p:nvSpPr>
        <p:spPr>
          <a:xfrm>
            <a:off x="1002844" y="5986259"/>
            <a:ext cx="9625165" cy="307777"/>
          </a:xfrm>
          <a:prstGeom prst="rect">
            <a:avLst/>
          </a:prstGeom>
        </p:spPr>
        <p:txBody>
          <a:bodyPr wrap="square" lIns="0" tIns="0" rIns="0" bIns="0" rtlCol="0">
            <a:spAutoFit/>
          </a:bodyPr>
          <a:lstStyle/>
          <a:p>
            <a:pPr algn="l">
              <a:spcAft>
                <a:spcPts val="600"/>
              </a:spcAft>
            </a:pPr>
            <a:r>
              <a:rPr lang="de-DE" sz="1000" kern="0" dirty="0">
                <a:solidFill>
                  <a:srgbClr val="003781"/>
                </a:solidFill>
                <a:latin typeface="+mj-lt"/>
                <a:cs typeface="Arial" panose="020B0604020202020204" pitchFamily="34" charset="0"/>
              </a:rPr>
              <a:t>Im Aktionsdaten Center Allianz finden Sie zusätzlich alle aktiven Einmalbeitrags-Verträge zum Kunden - auch Verträge, zu denen der Kunde nicht angeschrieben wird, z.B. Verträge von Kunden über 75 Jahren oder </a:t>
            </a:r>
            <a:r>
              <a:rPr lang="de-DE" sz="1000" kern="0" dirty="0" err="1">
                <a:solidFill>
                  <a:srgbClr val="003781"/>
                </a:solidFill>
                <a:latin typeface="+mj-lt"/>
                <a:cs typeface="Arial" panose="020B0604020202020204" pitchFamily="34" charset="0"/>
              </a:rPr>
              <a:t>ParkDepots</a:t>
            </a:r>
            <a:r>
              <a:rPr lang="de-DE" sz="1000" kern="0" dirty="0">
                <a:solidFill>
                  <a:srgbClr val="003781"/>
                </a:solidFill>
                <a:latin typeface="+mj-lt"/>
                <a:cs typeface="Arial" panose="020B0604020202020204" pitchFamily="34" charset="0"/>
              </a:rPr>
              <a:t> mit hohen Anlagesummen. </a:t>
            </a:r>
          </a:p>
        </p:txBody>
      </p:sp>
      <p:sp>
        <p:nvSpPr>
          <p:cNvPr id="14" name="Freeform 46">
            <a:extLst>
              <a:ext uri="{FF2B5EF4-FFF2-40B4-BE49-F238E27FC236}">
                <a16:creationId xmlns:a16="http://schemas.microsoft.com/office/drawing/2014/main" id="{C5E03B4F-948E-D9E0-3F90-93DCA5D0EF67}"/>
              </a:ext>
            </a:extLst>
          </p:cNvPr>
          <p:cNvSpPr>
            <a:spLocks noEditPoints="1"/>
          </p:cNvSpPr>
          <p:nvPr/>
        </p:nvSpPr>
        <p:spPr bwMode="auto">
          <a:xfrm>
            <a:off x="548103" y="6037033"/>
            <a:ext cx="335168" cy="196361"/>
          </a:xfrm>
          <a:custGeom>
            <a:avLst/>
            <a:gdLst>
              <a:gd name="T0" fmla="*/ 427 w 461"/>
              <a:gd name="T1" fmla="*/ 51 h 270"/>
              <a:gd name="T2" fmla="*/ 282 w 461"/>
              <a:gd name="T3" fmla="*/ 51 h 270"/>
              <a:gd name="T4" fmla="*/ 287 w 461"/>
              <a:gd name="T5" fmla="*/ 34 h 270"/>
              <a:gd name="T6" fmla="*/ 253 w 461"/>
              <a:gd name="T7" fmla="*/ 0 h 270"/>
              <a:gd name="T8" fmla="*/ 135 w 461"/>
              <a:gd name="T9" fmla="*/ 0 h 270"/>
              <a:gd name="T10" fmla="*/ 0 w 461"/>
              <a:gd name="T11" fmla="*/ 135 h 270"/>
              <a:gd name="T12" fmla="*/ 135 w 461"/>
              <a:gd name="T13" fmla="*/ 270 h 270"/>
              <a:gd name="T14" fmla="*/ 243 w 461"/>
              <a:gd name="T15" fmla="*/ 270 h 270"/>
              <a:gd name="T16" fmla="*/ 277 w 461"/>
              <a:gd name="T17" fmla="*/ 236 h 270"/>
              <a:gd name="T18" fmla="*/ 273 w 461"/>
              <a:gd name="T19" fmla="*/ 220 h 270"/>
              <a:gd name="T20" fmla="*/ 279 w 461"/>
              <a:gd name="T21" fmla="*/ 220 h 270"/>
              <a:gd name="T22" fmla="*/ 313 w 461"/>
              <a:gd name="T23" fmla="*/ 186 h 270"/>
              <a:gd name="T24" fmla="*/ 309 w 461"/>
              <a:gd name="T25" fmla="*/ 170 h 270"/>
              <a:gd name="T26" fmla="*/ 315 w 461"/>
              <a:gd name="T27" fmla="*/ 170 h 270"/>
              <a:gd name="T28" fmla="*/ 349 w 461"/>
              <a:gd name="T29" fmla="*/ 136 h 270"/>
              <a:gd name="T30" fmla="*/ 344 w 461"/>
              <a:gd name="T31" fmla="*/ 119 h 270"/>
              <a:gd name="T32" fmla="*/ 427 w 461"/>
              <a:gd name="T33" fmla="*/ 119 h 270"/>
              <a:gd name="T34" fmla="*/ 461 w 461"/>
              <a:gd name="T35" fmla="*/ 85 h 270"/>
              <a:gd name="T36" fmla="*/ 427 w 461"/>
              <a:gd name="T37" fmla="*/ 51 h 270"/>
              <a:gd name="T38" fmla="*/ 427 w 461"/>
              <a:gd name="T39" fmla="*/ 109 h 270"/>
              <a:gd name="T40" fmla="*/ 274 w 461"/>
              <a:gd name="T41" fmla="*/ 109 h 270"/>
              <a:gd name="T42" fmla="*/ 269 w 461"/>
              <a:gd name="T43" fmla="*/ 114 h 270"/>
              <a:gd name="T44" fmla="*/ 274 w 461"/>
              <a:gd name="T45" fmla="*/ 119 h 270"/>
              <a:gd name="T46" fmla="*/ 332 w 461"/>
              <a:gd name="T47" fmla="*/ 119 h 270"/>
              <a:gd name="T48" fmla="*/ 340 w 461"/>
              <a:gd name="T49" fmla="*/ 136 h 270"/>
              <a:gd name="T50" fmla="*/ 315 w 461"/>
              <a:gd name="T51" fmla="*/ 161 h 270"/>
              <a:gd name="T52" fmla="*/ 300 w 461"/>
              <a:gd name="T53" fmla="*/ 161 h 270"/>
              <a:gd name="T54" fmla="*/ 300 w 461"/>
              <a:gd name="T55" fmla="*/ 161 h 270"/>
              <a:gd name="T56" fmla="*/ 259 w 461"/>
              <a:gd name="T57" fmla="*/ 161 h 270"/>
              <a:gd name="T58" fmla="*/ 254 w 461"/>
              <a:gd name="T59" fmla="*/ 166 h 270"/>
              <a:gd name="T60" fmla="*/ 259 w 461"/>
              <a:gd name="T61" fmla="*/ 170 h 270"/>
              <a:gd name="T62" fmla="*/ 298 w 461"/>
              <a:gd name="T63" fmla="*/ 170 h 270"/>
              <a:gd name="T64" fmla="*/ 304 w 461"/>
              <a:gd name="T65" fmla="*/ 186 h 270"/>
              <a:gd name="T66" fmla="*/ 279 w 461"/>
              <a:gd name="T67" fmla="*/ 211 h 270"/>
              <a:gd name="T68" fmla="*/ 264 w 461"/>
              <a:gd name="T69" fmla="*/ 211 h 270"/>
              <a:gd name="T70" fmla="*/ 264 w 461"/>
              <a:gd name="T71" fmla="*/ 211 h 270"/>
              <a:gd name="T72" fmla="*/ 242 w 461"/>
              <a:gd name="T73" fmla="*/ 211 h 270"/>
              <a:gd name="T74" fmla="*/ 237 w 461"/>
              <a:gd name="T75" fmla="*/ 215 h 270"/>
              <a:gd name="T76" fmla="*/ 242 w 461"/>
              <a:gd name="T77" fmla="*/ 220 h 270"/>
              <a:gd name="T78" fmla="*/ 262 w 461"/>
              <a:gd name="T79" fmla="*/ 220 h 270"/>
              <a:gd name="T80" fmla="*/ 268 w 461"/>
              <a:gd name="T81" fmla="*/ 236 h 270"/>
              <a:gd name="T82" fmla="*/ 243 w 461"/>
              <a:gd name="T83" fmla="*/ 261 h 270"/>
              <a:gd name="T84" fmla="*/ 135 w 461"/>
              <a:gd name="T85" fmla="*/ 261 h 270"/>
              <a:gd name="T86" fmla="*/ 10 w 461"/>
              <a:gd name="T87" fmla="*/ 135 h 270"/>
              <a:gd name="T88" fmla="*/ 135 w 461"/>
              <a:gd name="T89" fmla="*/ 9 h 270"/>
              <a:gd name="T90" fmla="*/ 253 w 461"/>
              <a:gd name="T91" fmla="*/ 9 h 270"/>
              <a:gd name="T92" fmla="*/ 277 w 461"/>
              <a:gd name="T93" fmla="*/ 34 h 270"/>
              <a:gd name="T94" fmla="*/ 271 w 461"/>
              <a:gd name="T95" fmla="*/ 51 h 270"/>
              <a:gd name="T96" fmla="*/ 171 w 461"/>
              <a:gd name="T97" fmla="*/ 51 h 270"/>
              <a:gd name="T98" fmla="*/ 166 w 461"/>
              <a:gd name="T99" fmla="*/ 55 h 270"/>
              <a:gd name="T100" fmla="*/ 171 w 461"/>
              <a:gd name="T101" fmla="*/ 60 h 270"/>
              <a:gd name="T102" fmla="*/ 427 w 461"/>
              <a:gd name="T103" fmla="*/ 60 h 270"/>
              <a:gd name="T104" fmla="*/ 451 w 461"/>
              <a:gd name="T105" fmla="*/ 85 h 270"/>
              <a:gd name="T106" fmla="*/ 427 w 461"/>
              <a:gd name="T107" fmla="*/ 10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1" h="270">
                <a:moveTo>
                  <a:pt x="427" y="51"/>
                </a:moveTo>
                <a:cubicBezTo>
                  <a:pt x="282" y="51"/>
                  <a:pt x="282" y="51"/>
                  <a:pt x="282" y="51"/>
                </a:cubicBezTo>
                <a:cubicBezTo>
                  <a:pt x="285" y="46"/>
                  <a:pt x="287" y="40"/>
                  <a:pt x="287" y="34"/>
                </a:cubicBezTo>
                <a:cubicBezTo>
                  <a:pt x="287" y="15"/>
                  <a:pt x="271" y="0"/>
                  <a:pt x="253" y="0"/>
                </a:cubicBezTo>
                <a:cubicBezTo>
                  <a:pt x="135" y="0"/>
                  <a:pt x="135" y="0"/>
                  <a:pt x="135" y="0"/>
                </a:cubicBezTo>
                <a:cubicBezTo>
                  <a:pt x="61" y="0"/>
                  <a:pt x="0" y="61"/>
                  <a:pt x="0" y="135"/>
                </a:cubicBezTo>
                <a:cubicBezTo>
                  <a:pt x="0" y="210"/>
                  <a:pt x="61" y="270"/>
                  <a:pt x="135" y="270"/>
                </a:cubicBezTo>
                <a:cubicBezTo>
                  <a:pt x="243" y="270"/>
                  <a:pt x="243" y="270"/>
                  <a:pt x="243" y="270"/>
                </a:cubicBezTo>
                <a:cubicBezTo>
                  <a:pt x="262" y="270"/>
                  <a:pt x="277" y="255"/>
                  <a:pt x="277" y="236"/>
                </a:cubicBezTo>
                <a:cubicBezTo>
                  <a:pt x="277" y="231"/>
                  <a:pt x="276" y="225"/>
                  <a:pt x="273" y="220"/>
                </a:cubicBezTo>
                <a:cubicBezTo>
                  <a:pt x="279" y="220"/>
                  <a:pt x="279" y="220"/>
                  <a:pt x="279" y="220"/>
                </a:cubicBezTo>
                <a:cubicBezTo>
                  <a:pt x="298" y="220"/>
                  <a:pt x="313" y="205"/>
                  <a:pt x="313" y="186"/>
                </a:cubicBezTo>
                <a:cubicBezTo>
                  <a:pt x="313" y="181"/>
                  <a:pt x="312" y="175"/>
                  <a:pt x="309" y="170"/>
                </a:cubicBezTo>
                <a:cubicBezTo>
                  <a:pt x="315" y="170"/>
                  <a:pt x="315" y="170"/>
                  <a:pt x="315" y="170"/>
                </a:cubicBezTo>
                <a:cubicBezTo>
                  <a:pt x="334" y="170"/>
                  <a:pt x="349" y="155"/>
                  <a:pt x="349" y="136"/>
                </a:cubicBezTo>
                <a:cubicBezTo>
                  <a:pt x="349" y="130"/>
                  <a:pt x="347" y="124"/>
                  <a:pt x="344" y="119"/>
                </a:cubicBezTo>
                <a:cubicBezTo>
                  <a:pt x="427" y="119"/>
                  <a:pt x="427" y="119"/>
                  <a:pt x="427" y="119"/>
                </a:cubicBezTo>
                <a:cubicBezTo>
                  <a:pt x="446" y="119"/>
                  <a:pt x="461" y="104"/>
                  <a:pt x="461" y="85"/>
                </a:cubicBezTo>
                <a:cubicBezTo>
                  <a:pt x="461" y="66"/>
                  <a:pt x="446" y="51"/>
                  <a:pt x="427" y="51"/>
                </a:cubicBezTo>
                <a:close/>
                <a:moveTo>
                  <a:pt x="427" y="109"/>
                </a:moveTo>
                <a:cubicBezTo>
                  <a:pt x="274" y="109"/>
                  <a:pt x="274" y="109"/>
                  <a:pt x="274" y="109"/>
                </a:cubicBezTo>
                <a:cubicBezTo>
                  <a:pt x="271" y="109"/>
                  <a:pt x="269" y="112"/>
                  <a:pt x="269" y="114"/>
                </a:cubicBezTo>
                <a:cubicBezTo>
                  <a:pt x="269" y="117"/>
                  <a:pt x="271" y="119"/>
                  <a:pt x="274" y="119"/>
                </a:cubicBezTo>
                <a:cubicBezTo>
                  <a:pt x="332" y="119"/>
                  <a:pt x="332" y="119"/>
                  <a:pt x="332" y="119"/>
                </a:cubicBezTo>
                <a:cubicBezTo>
                  <a:pt x="337" y="123"/>
                  <a:pt x="340" y="130"/>
                  <a:pt x="340" y="136"/>
                </a:cubicBezTo>
                <a:cubicBezTo>
                  <a:pt x="340" y="150"/>
                  <a:pt x="329" y="161"/>
                  <a:pt x="315" y="161"/>
                </a:cubicBezTo>
                <a:cubicBezTo>
                  <a:pt x="300" y="161"/>
                  <a:pt x="300" y="161"/>
                  <a:pt x="300" y="161"/>
                </a:cubicBezTo>
                <a:cubicBezTo>
                  <a:pt x="300" y="161"/>
                  <a:pt x="300" y="161"/>
                  <a:pt x="300" y="161"/>
                </a:cubicBezTo>
                <a:cubicBezTo>
                  <a:pt x="259" y="161"/>
                  <a:pt x="259" y="161"/>
                  <a:pt x="259" y="161"/>
                </a:cubicBezTo>
                <a:cubicBezTo>
                  <a:pt x="256" y="161"/>
                  <a:pt x="254" y="163"/>
                  <a:pt x="254" y="166"/>
                </a:cubicBezTo>
                <a:cubicBezTo>
                  <a:pt x="254" y="168"/>
                  <a:pt x="256" y="170"/>
                  <a:pt x="259" y="170"/>
                </a:cubicBezTo>
                <a:cubicBezTo>
                  <a:pt x="298" y="170"/>
                  <a:pt x="298" y="170"/>
                  <a:pt x="298" y="170"/>
                </a:cubicBezTo>
                <a:cubicBezTo>
                  <a:pt x="302" y="175"/>
                  <a:pt x="304" y="180"/>
                  <a:pt x="304" y="186"/>
                </a:cubicBezTo>
                <a:cubicBezTo>
                  <a:pt x="304" y="200"/>
                  <a:pt x="293" y="211"/>
                  <a:pt x="279" y="211"/>
                </a:cubicBezTo>
                <a:cubicBezTo>
                  <a:pt x="264" y="211"/>
                  <a:pt x="264" y="211"/>
                  <a:pt x="264" y="211"/>
                </a:cubicBezTo>
                <a:cubicBezTo>
                  <a:pt x="264" y="211"/>
                  <a:pt x="264" y="211"/>
                  <a:pt x="264" y="211"/>
                </a:cubicBezTo>
                <a:cubicBezTo>
                  <a:pt x="242" y="211"/>
                  <a:pt x="242" y="211"/>
                  <a:pt x="242" y="211"/>
                </a:cubicBezTo>
                <a:cubicBezTo>
                  <a:pt x="239" y="211"/>
                  <a:pt x="237" y="213"/>
                  <a:pt x="237" y="215"/>
                </a:cubicBezTo>
                <a:cubicBezTo>
                  <a:pt x="237" y="218"/>
                  <a:pt x="239" y="220"/>
                  <a:pt x="242" y="220"/>
                </a:cubicBezTo>
                <a:cubicBezTo>
                  <a:pt x="262" y="220"/>
                  <a:pt x="262" y="220"/>
                  <a:pt x="262" y="220"/>
                </a:cubicBezTo>
                <a:cubicBezTo>
                  <a:pt x="265" y="225"/>
                  <a:pt x="268" y="230"/>
                  <a:pt x="268" y="236"/>
                </a:cubicBezTo>
                <a:cubicBezTo>
                  <a:pt x="268" y="250"/>
                  <a:pt x="257" y="261"/>
                  <a:pt x="243" y="261"/>
                </a:cubicBezTo>
                <a:cubicBezTo>
                  <a:pt x="135" y="261"/>
                  <a:pt x="135" y="261"/>
                  <a:pt x="135" y="261"/>
                </a:cubicBezTo>
                <a:cubicBezTo>
                  <a:pt x="66" y="261"/>
                  <a:pt x="10" y="205"/>
                  <a:pt x="10" y="135"/>
                </a:cubicBezTo>
                <a:cubicBezTo>
                  <a:pt x="10" y="66"/>
                  <a:pt x="66" y="9"/>
                  <a:pt x="135" y="9"/>
                </a:cubicBezTo>
                <a:cubicBezTo>
                  <a:pt x="253" y="9"/>
                  <a:pt x="253" y="9"/>
                  <a:pt x="253" y="9"/>
                </a:cubicBezTo>
                <a:cubicBezTo>
                  <a:pt x="266" y="9"/>
                  <a:pt x="277" y="20"/>
                  <a:pt x="277" y="34"/>
                </a:cubicBezTo>
                <a:cubicBezTo>
                  <a:pt x="277" y="40"/>
                  <a:pt x="275" y="46"/>
                  <a:pt x="271" y="51"/>
                </a:cubicBezTo>
                <a:cubicBezTo>
                  <a:pt x="171" y="51"/>
                  <a:pt x="171" y="51"/>
                  <a:pt x="171" y="51"/>
                </a:cubicBezTo>
                <a:cubicBezTo>
                  <a:pt x="168" y="51"/>
                  <a:pt x="166" y="53"/>
                  <a:pt x="166" y="55"/>
                </a:cubicBezTo>
                <a:cubicBezTo>
                  <a:pt x="166" y="58"/>
                  <a:pt x="168" y="60"/>
                  <a:pt x="171" y="60"/>
                </a:cubicBezTo>
                <a:cubicBezTo>
                  <a:pt x="427" y="60"/>
                  <a:pt x="427" y="60"/>
                  <a:pt x="427" y="60"/>
                </a:cubicBezTo>
                <a:cubicBezTo>
                  <a:pt x="440" y="60"/>
                  <a:pt x="451" y="71"/>
                  <a:pt x="451" y="85"/>
                </a:cubicBezTo>
                <a:cubicBezTo>
                  <a:pt x="451" y="98"/>
                  <a:pt x="440" y="109"/>
                  <a:pt x="427" y="109"/>
                </a:cubicBezTo>
                <a:close/>
              </a:path>
            </a:pathLst>
          </a:custGeom>
          <a:solidFill>
            <a:srgbClr val="FAB600"/>
          </a:solidFill>
          <a:ln w="12700">
            <a:solidFill>
              <a:schemeClr val="bg1"/>
            </a:solidFill>
          </a:ln>
        </p:spPr>
        <p:txBody>
          <a:bodyPr vert="horz" wrap="square" lIns="86382" tIns="43191" rIns="86382" bIns="43191" numCol="1" anchor="t" anchorCtr="0" compatLnSpc="1">
            <a:prstTxWarp prst="textNoShape">
              <a:avLst/>
            </a:prstTxWarp>
          </a:bodyPr>
          <a:lstStyle/>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sz="1607" b="0" i="0" u="none" strike="noStrike" kern="1200" cap="none" spc="0" normalizeH="0" baseline="0" noProof="0">
              <a:ln>
                <a:noFill/>
              </a:ln>
              <a:solidFill>
                <a:srgbClr val="C0D0FF"/>
              </a:solidFill>
              <a:effectLst/>
              <a:uLnTx/>
              <a:uFillTx/>
              <a:latin typeface="Allianz Neo PPT"/>
              <a:ea typeface="+mn-ea"/>
              <a:cs typeface="+mn-cs"/>
            </a:endParaRPr>
          </a:p>
        </p:txBody>
      </p:sp>
    </p:spTree>
    <p:extLst>
      <p:ext uri="{BB962C8B-B14F-4D97-AF65-F5344CB8AC3E}">
        <p14:creationId xmlns:p14="http://schemas.microsoft.com/office/powerpoint/2010/main" val="14013581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EFFF893A-2C8B-524C-B0F6-C4201F08DE9A}"/>
              </a:ext>
            </a:extLst>
          </p:cNvPr>
          <p:cNvSpPr/>
          <p:nvPr/>
        </p:nvSpPr>
        <p:spPr>
          <a:xfrm>
            <a:off x="483784" y="1980092"/>
            <a:ext cx="10390104" cy="4140000"/>
          </a:xfrm>
          <a:prstGeom prst="rect">
            <a:avLst/>
          </a:prstGeom>
          <a:solidFill>
            <a:srgbClr val="F1F4F6"/>
          </a:solidFill>
          <a:ln>
            <a:noFill/>
          </a:ln>
        </p:spPr>
        <p:txBody>
          <a:bodyPr rot="0" spcFirstLastPara="0" vertOverflow="overflow" horzOverflow="overflow" vert="horz" wrap="square" lIns="101988" tIns="101988" rIns="101988" bIns="101988" numCol="1" spcCol="0" rtlCol="0" fromWordArt="0" anchor="t" anchorCtr="0" forceAA="0" compatLnSpc="1">
            <a:prstTxWarp prst="textNoShape">
              <a:avLst/>
            </a:prstTxWarp>
            <a:noAutofit/>
          </a:bodyPr>
          <a:lstStyle/>
          <a:p>
            <a:pPr marL="0" marR="0" lvl="0" indent="0" algn="l" defTabSz="863742" rtl="0" eaLnBrk="1" fontAlgn="auto" latinLnBrk="0" hangingPunct="1">
              <a:lnSpc>
                <a:spcPct val="100000"/>
              </a:lnSpc>
              <a:spcBef>
                <a:spcPts val="94"/>
              </a:spcBef>
              <a:spcAft>
                <a:spcPts val="94"/>
              </a:spcAft>
              <a:buClrTx/>
              <a:buSzTx/>
              <a:buFontTx/>
              <a:buNone/>
              <a:tabLst/>
              <a:defRPr/>
            </a:pPr>
            <a:r>
              <a:rPr kumimoji="0" lang="de-DE" sz="1323" b="0" i="0" u="none" strike="noStrike" kern="1200" cap="none" spc="0" normalizeH="0" baseline="0" noProof="0">
                <a:ln>
                  <a:noFill/>
                </a:ln>
                <a:solidFill>
                  <a:srgbClr val="FFFFFF"/>
                </a:solidFill>
                <a:effectLst/>
                <a:uLnTx/>
                <a:uFillTx/>
                <a:latin typeface="Allianz Neo PPT"/>
                <a:ea typeface="+mn-ea"/>
                <a:cs typeface="+mn-cs"/>
              </a:rPr>
              <a:t> </a:t>
            </a:r>
          </a:p>
        </p:txBody>
      </p:sp>
      <p:pic>
        <p:nvPicPr>
          <p:cNvPr id="10" name="Grafik 9">
            <a:extLst>
              <a:ext uri="{FF2B5EF4-FFF2-40B4-BE49-F238E27FC236}">
                <a16:creationId xmlns:a16="http://schemas.microsoft.com/office/drawing/2014/main" id="{6C9C1807-0CFA-6ECF-0560-EEB1AAF7FC1F}"/>
              </a:ext>
            </a:extLst>
          </p:cNvPr>
          <p:cNvPicPr>
            <a:picLocks noChangeAspect="1"/>
          </p:cNvPicPr>
          <p:nvPr/>
        </p:nvPicPr>
        <p:blipFill>
          <a:blip r:embed="rId3"/>
          <a:stretch>
            <a:fillRect/>
          </a:stretch>
        </p:blipFill>
        <p:spPr>
          <a:xfrm>
            <a:off x="8318373" y="3929195"/>
            <a:ext cx="2057691" cy="2157403"/>
          </a:xfrm>
          <a:prstGeom prst="rect">
            <a:avLst/>
          </a:prstGeom>
          <a:ln>
            <a:noFill/>
          </a:ln>
          <a:effectLst>
            <a:outerShdw blurRad="292100" dist="139700" dir="2700000" algn="tl" rotWithShape="0">
              <a:srgbClr val="333333">
                <a:alpha val="65000"/>
              </a:srgbClr>
            </a:outerShdw>
          </a:effectLst>
        </p:spPr>
      </p:pic>
      <p:pic>
        <p:nvPicPr>
          <p:cNvPr id="7" name="Grafik 6">
            <a:extLst>
              <a:ext uri="{FF2B5EF4-FFF2-40B4-BE49-F238E27FC236}">
                <a16:creationId xmlns:a16="http://schemas.microsoft.com/office/drawing/2014/main" id="{E65FCBA7-57F9-C6A4-BBF3-7ED8C6E16108}"/>
              </a:ext>
            </a:extLst>
          </p:cNvPr>
          <p:cNvPicPr>
            <a:picLocks noChangeAspect="1"/>
          </p:cNvPicPr>
          <p:nvPr/>
        </p:nvPicPr>
        <p:blipFill>
          <a:blip r:embed="rId4"/>
          <a:stretch>
            <a:fillRect/>
          </a:stretch>
        </p:blipFill>
        <p:spPr>
          <a:xfrm>
            <a:off x="7179776" y="2521456"/>
            <a:ext cx="2064500" cy="2182731"/>
          </a:xfrm>
          <a:prstGeom prst="rect">
            <a:avLst/>
          </a:prstGeom>
          <a:ln>
            <a:noFill/>
          </a:ln>
          <a:effectLst>
            <a:outerShdw blurRad="292100" dist="139700" dir="2700000" algn="tl" rotWithShape="0">
              <a:srgbClr val="333333">
                <a:alpha val="65000"/>
              </a:srgbClr>
            </a:outerShdw>
          </a:effectLst>
        </p:spPr>
      </p:pic>
      <p:pic>
        <p:nvPicPr>
          <p:cNvPr id="5" name="Grafik 4">
            <a:extLst>
              <a:ext uri="{FF2B5EF4-FFF2-40B4-BE49-F238E27FC236}">
                <a16:creationId xmlns:a16="http://schemas.microsoft.com/office/drawing/2014/main" id="{9B6F5557-183F-F615-5B9E-FB59818DAD92}"/>
              </a:ext>
            </a:extLst>
          </p:cNvPr>
          <p:cNvPicPr>
            <a:picLocks noChangeAspect="1"/>
          </p:cNvPicPr>
          <p:nvPr/>
        </p:nvPicPr>
        <p:blipFill>
          <a:blip r:embed="rId5"/>
          <a:stretch>
            <a:fillRect/>
          </a:stretch>
        </p:blipFill>
        <p:spPr>
          <a:xfrm>
            <a:off x="5045094" y="2207891"/>
            <a:ext cx="1932798" cy="3575243"/>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p:txBody>
          <a:bodyPr/>
          <a:lstStyle/>
          <a:p>
            <a:r>
              <a:rPr lang="de-DE" sz="4800"/>
              <a:t>Kundenunterlagen </a:t>
            </a:r>
            <a:r>
              <a:rPr lang="de-DE" sz="4800">
                <a:solidFill>
                  <a:srgbClr val="13A0D3"/>
                </a:solidFill>
              </a:rPr>
              <a:t>Brief Zuzahlung</a:t>
            </a:r>
          </a:p>
        </p:txBody>
      </p:sp>
      <p:sp>
        <p:nvSpPr>
          <p:cNvPr id="4" name="Inhaltsplatzhalter 3"/>
          <p:cNvSpPr>
            <a:spLocks noGrp="1"/>
          </p:cNvSpPr>
          <p:nvPr>
            <p:ph sz="half" idx="1"/>
          </p:nvPr>
        </p:nvSpPr>
        <p:spPr>
          <a:xfrm>
            <a:off x="739065" y="2257058"/>
            <a:ext cx="2562154" cy="3507612"/>
          </a:xfrm>
        </p:spPr>
        <p:txBody>
          <a:bodyPr/>
          <a:lstStyle/>
          <a:p>
            <a:pPr lvl="1"/>
            <a:r>
              <a:rPr lang="de-DE" sz="1100" b="1" dirty="0">
                <a:latin typeface="+mj-lt"/>
              </a:rPr>
              <a:t>Ihre Kunden erhalten eine Briefansprache zur Zuzahlung in ihren Bestandsvertrag.</a:t>
            </a:r>
          </a:p>
          <a:p>
            <a:pPr lvl="1"/>
            <a:endParaRPr lang="de-DE" sz="1100" b="1" dirty="0">
              <a:latin typeface="+mj-lt"/>
            </a:endParaRPr>
          </a:p>
          <a:p>
            <a:pPr lvl="1"/>
            <a:r>
              <a:rPr lang="de-DE" sz="1100" dirty="0">
                <a:latin typeface="+mj-lt"/>
              </a:rPr>
              <a:t>Der Brief enthält:</a:t>
            </a:r>
          </a:p>
          <a:p>
            <a:pPr marL="171450" lvl="1" indent="-171450">
              <a:buFont typeface="Arial" panose="020B0604020202020204" pitchFamily="34" charset="0"/>
              <a:buChar char="•"/>
            </a:pPr>
            <a:r>
              <a:rPr lang="de-DE" sz="1100" dirty="0">
                <a:latin typeface="+mj-lt"/>
              </a:rPr>
              <a:t>ein personalisiertes Anschreiben inkl. einem Überweisungsträger und QR-Code zur vereinfachten Überweisung ihres Zuzahlungsbetrags </a:t>
            </a:r>
          </a:p>
          <a:p>
            <a:pPr marL="171450" lvl="1" indent="-171450">
              <a:buFont typeface="Arial" panose="020B0604020202020204" pitchFamily="34" charset="0"/>
              <a:buChar char="•"/>
            </a:pPr>
            <a:r>
              <a:rPr lang="de-DE" sz="1100" dirty="0">
                <a:latin typeface="+mj-lt"/>
              </a:rPr>
              <a:t>einen Flyer mit Informationen zur Zuzahlung. </a:t>
            </a:r>
          </a:p>
          <a:p>
            <a:pPr lvl="1"/>
            <a:endParaRPr lang="de-DE" sz="1100" dirty="0">
              <a:latin typeface="+mj-lt"/>
            </a:endParaRPr>
          </a:p>
          <a:p>
            <a:pPr lvl="1"/>
            <a:endParaRPr lang="de-DE" sz="1100" dirty="0">
              <a:latin typeface="+mj-lt"/>
            </a:endParaRPr>
          </a:p>
          <a:p>
            <a:pPr lvl="1"/>
            <a:r>
              <a:rPr lang="de-DE" sz="1100" b="1" dirty="0">
                <a:latin typeface="+mj-lt"/>
              </a:rPr>
              <a:t>Hinweis: </a:t>
            </a:r>
            <a:r>
              <a:rPr lang="de-DE" sz="1100" dirty="0">
                <a:latin typeface="+mj-lt"/>
              </a:rPr>
              <a:t>Nutzen Sie bei den ABS-Verträgen den digitalen Zuzahlungsservice, den Sie im Servicekatalog finden. Eine Anleitung dazu finden Sie in der Aktionsbox. (ABS-Verträge erkennen Sie an der Vertragsnummer, die mit AL- beginnt.)</a:t>
            </a:r>
          </a:p>
          <a:p>
            <a:pPr marL="494891" lvl="1" defTabSz="1151750"/>
            <a:endParaRPr lang="de-DE" sz="1100" b="1" dirty="0">
              <a:latin typeface="+mj-lt"/>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4</a:t>
            </a: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9137081" cy="252000"/>
          </a:xfrm>
        </p:spPr>
        <p:txBody>
          <a:bodyPr/>
          <a:lstStyle/>
          <a:p>
            <a:pPr defTabSz="864006">
              <a:defRPr/>
            </a:pPr>
            <a:r>
              <a:rPr lang="de-DE" dirty="0">
                <a:solidFill>
                  <a:srgbClr val="003781"/>
                </a:solidFill>
                <a:latin typeface="+mj-lt"/>
                <a:cs typeface="Arial" panose="020B0604020202020204" pitchFamily="34" charset="0"/>
              </a:rPr>
              <a:t>Briefaktion: Förderung und Zuzahlung Einmalbeitragsgeschäft 2024 (</a:t>
            </a:r>
            <a:r>
              <a:rPr lang="de-DE" dirty="0"/>
              <a:t>22783</a:t>
            </a:r>
            <a:r>
              <a:rPr lang="de-DE" dirty="0">
                <a:solidFill>
                  <a:srgbClr val="003781"/>
                </a:solidFill>
                <a:latin typeface="+mj-lt"/>
                <a:cs typeface="Arial" panose="020B0604020202020204" pitchFamily="34" charset="0"/>
              </a:rPr>
              <a:t>)</a:t>
            </a:r>
          </a:p>
        </p:txBody>
      </p:sp>
      <p:sp>
        <p:nvSpPr>
          <p:cNvPr id="9" name="Foliennummernplatzhalter 8"/>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5</a:t>
            </a:fld>
            <a:endParaRPr kumimoji="0" lang="en-GB"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17" name="Rechteck 16">
            <a:extLst>
              <a:ext uri="{FF2B5EF4-FFF2-40B4-BE49-F238E27FC236}">
                <a16:creationId xmlns:a16="http://schemas.microsoft.com/office/drawing/2014/main" id="{C79BBB7C-5CDB-AB45-816B-88FC00B85060}"/>
              </a:ext>
            </a:extLst>
          </p:cNvPr>
          <p:cNvSpPr/>
          <p:nvPr/>
        </p:nvSpPr>
        <p:spPr>
          <a:xfrm>
            <a:off x="3476731" y="2567737"/>
            <a:ext cx="1226572" cy="400110"/>
          </a:xfrm>
          <a:prstGeom prst="rect">
            <a:avLst/>
          </a:prstGeom>
        </p:spPr>
        <p:txBody>
          <a:bodyPr wrap="square">
            <a:spAutoFit/>
          </a:bodyPr>
          <a:lstStyle/>
          <a:p>
            <a:pPr marL="0" marR="0" lvl="0" indent="0" algn="r" defTabSz="864017"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03781"/>
                </a:solidFill>
                <a:effectLst/>
                <a:uLnTx/>
                <a:uFillTx/>
                <a:latin typeface="Allianz Neo PPT"/>
                <a:ea typeface="+mn-ea"/>
                <a:cs typeface="+mn-cs"/>
              </a:rPr>
              <a:t>Personalisiertes Anschreiben</a:t>
            </a:r>
            <a:endParaRPr kumimoji="0" lang="de-DE" sz="900" b="0" i="0" u="none" strike="noStrike" kern="1200" cap="none" spc="0" normalizeH="0" baseline="0" noProof="0" dirty="0">
              <a:ln>
                <a:noFill/>
              </a:ln>
              <a:solidFill>
                <a:srgbClr val="003781"/>
              </a:solidFill>
              <a:effectLst/>
              <a:uLnTx/>
              <a:uFillTx/>
              <a:latin typeface="Allianz Neo PPT"/>
              <a:ea typeface="+mn-ea"/>
              <a:cs typeface="+mn-cs"/>
            </a:endParaRPr>
          </a:p>
        </p:txBody>
      </p:sp>
      <p:cxnSp>
        <p:nvCxnSpPr>
          <p:cNvPr id="18" name="Gerade Verbindung mit Pfeil 17"/>
          <p:cNvCxnSpPr>
            <a:cxnSpLocks/>
          </p:cNvCxnSpPr>
          <p:nvPr/>
        </p:nvCxnSpPr>
        <p:spPr>
          <a:xfrm flipV="1">
            <a:off x="9156353" y="3529156"/>
            <a:ext cx="308480" cy="461675"/>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C79BBB7C-5CDB-AB45-816B-88FC00B85060}"/>
              </a:ext>
            </a:extLst>
          </p:cNvPr>
          <p:cNvSpPr/>
          <p:nvPr/>
        </p:nvSpPr>
        <p:spPr>
          <a:xfrm>
            <a:off x="9304221" y="2759517"/>
            <a:ext cx="1323402" cy="784830"/>
          </a:xfrm>
          <a:prstGeom prst="rect">
            <a:avLst/>
          </a:prstGeom>
        </p:spPr>
        <p:txBody>
          <a:bodyPr wrap="square">
            <a:spAutoFit/>
          </a:bodyPr>
          <a:lstStyle/>
          <a:p>
            <a:pPr marL="0" marR="0" lvl="0" indent="0" defTabSz="864017"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3781"/>
                </a:solidFill>
                <a:effectLst/>
                <a:uLnTx/>
                <a:uFillTx/>
                <a:latin typeface="Allianz Neo PPT"/>
                <a:ea typeface="+mn-ea"/>
                <a:cs typeface="+mn-cs"/>
              </a:rPr>
              <a:t>Flyer mit weiteren Infos zur Zuzahlung und Anleitung für Zuzahlung mit der Banking-App</a:t>
            </a:r>
          </a:p>
        </p:txBody>
      </p:sp>
      <p:cxnSp>
        <p:nvCxnSpPr>
          <p:cNvPr id="22" name="Gerade Verbindung mit Pfeil 21"/>
          <p:cNvCxnSpPr>
            <a:cxnSpLocks/>
          </p:cNvCxnSpPr>
          <p:nvPr/>
        </p:nvCxnSpPr>
        <p:spPr>
          <a:xfrm flipH="1" flipV="1">
            <a:off x="4688557" y="2759517"/>
            <a:ext cx="551773" cy="374168"/>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0" name="Rechteck 19"/>
          <p:cNvSpPr/>
          <p:nvPr/>
        </p:nvSpPr>
        <p:spPr>
          <a:xfrm>
            <a:off x="3257782" y="3787322"/>
            <a:ext cx="1387424" cy="707886"/>
          </a:xfrm>
          <a:prstGeom prst="rect">
            <a:avLst/>
          </a:prstGeom>
        </p:spPr>
        <p:txBody>
          <a:bodyPr wrap="square">
            <a:spAutoFit/>
          </a:bodyPr>
          <a:lstStyle/>
          <a:p>
            <a:pPr lvl="0" algn="r">
              <a:defRPr/>
            </a:pPr>
            <a:r>
              <a:rPr lang="de-DE" sz="1000" dirty="0">
                <a:solidFill>
                  <a:srgbClr val="003781"/>
                </a:solidFill>
              </a:rPr>
              <a:t>EPC-QR-Code zur Zuzahlung über die  Banking-App (Foto-Überweisung)</a:t>
            </a:r>
          </a:p>
        </p:txBody>
      </p:sp>
      <p:cxnSp>
        <p:nvCxnSpPr>
          <p:cNvPr id="25" name="Gerade Verbindung mit Pfeil 24"/>
          <p:cNvCxnSpPr>
            <a:cxnSpLocks/>
          </p:cNvCxnSpPr>
          <p:nvPr/>
        </p:nvCxnSpPr>
        <p:spPr>
          <a:xfrm flipH="1" flipV="1">
            <a:off x="4590031" y="4037475"/>
            <a:ext cx="2091921" cy="970421"/>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a:cxnSpLocks/>
          </p:cNvCxnSpPr>
          <p:nvPr/>
        </p:nvCxnSpPr>
        <p:spPr>
          <a:xfrm flipH="1">
            <a:off x="4575510" y="3781457"/>
            <a:ext cx="664820" cy="248914"/>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30" name="Rechteck 29"/>
          <p:cNvSpPr/>
          <p:nvPr/>
        </p:nvSpPr>
        <p:spPr>
          <a:xfrm>
            <a:off x="3293124" y="4926192"/>
            <a:ext cx="1478957" cy="553998"/>
          </a:xfrm>
          <a:prstGeom prst="rect">
            <a:avLst/>
          </a:prstGeom>
        </p:spPr>
        <p:txBody>
          <a:bodyPr wrap="square">
            <a:spAutoFit/>
          </a:bodyPr>
          <a:lstStyle/>
          <a:p>
            <a:pPr lvl="0" algn="r">
              <a:defRPr/>
            </a:pPr>
            <a:r>
              <a:rPr lang="de-DE" sz="1000" dirty="0">
                <a:solidFill>
                  <a:srgbClr val="003781"/>
                </a:solidFill>
              </a:rPr>
              <a:t>Überweisungsträger zur direkten Zuzahlung durch den Kunden</a:t>
            </a:r>
          </a:p>
        </p:txBody>
      </p:sp>
      <p:cxnSp>
        <p:nvCxnSpPr>
          <p:cNvPr id="31" name="Gerade Verbindung mit Pfeil 30"/>
          <p:cNvCxnSpPr>
            <a:cxnSpLocks/>
          </p:cNvCxnSpPr>
          <p:nvPr/>
        </p:nvCxnSpPr>
        <p:spPr>
          <a:xfrm flipH="1" flipV="1">
            <a:off x="4772081" y="5289733"/>
            <a:ext cx="345203" cy="199687"/>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11" name="Ellipse 10">
            <a:extLst>
              <a:ext uri="{FF2B5EF4-FFF2-40B4-BE49-F238E27FC236}">
                <a16:creationId xmlns:a16="http://schemas.microsoft.com/office/drawing/2014/main" id="{467E5FBB-F785-190C-7502-8DD13594D3FE}"/>
              </a:ext>
            </a:extLst>
          </p:cNvPr>
          <p:cNvSpPr/>
          <p:nvPr/>
        </p:nvSpPr>
        <p:spPr>
          <a:xfrm rot="919371">
            <a:off x="9904807" y="1588497"/>
            <a:ext cx="1080000" cy="1080000"/>
          </a:xfrm>
          <a:prstGeom prst="ellipse">
            <a:avLst/>
          </a:prstGeom>
          <a:solidFill>
            <a:srgbClr val="FAB6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34017" rIns="0" bIns="34017" rtlCol="0" anchor="ctr"/>
          <a:lstStyle/>
          <a:p>
            <a:pPr algn="ctr" defTabSz="864006">
              <a:spcBef>
                <a:spcPts val="283"/>
              </a:spcBef>
              <a:spcAft>
                <a:spcPts val="378"/>
              </a:spcAft>
              <a:buSzPct val="100000"/>
              <a:defRPr/>
            </a:pPr>
            <a:r>
              <a:rPr lang="de-DE" altLang="de-DE" sz="900" b="1" dirty="0">
                <a:solidFill>
                  <a:srgbClr val="122B54"/>
                </a:solidFill>
                <a:latin typeface="+mj-lt"/>
                <a:cs typeface="Arial" panose="020B0604020202020204" pitchFamily="34" charset="0"/>
              </a:rPr>
              <a:t>Ansprache auf Vertragsebene </a:t>
            </a:r>
            <a:r>
              <a:rPr lang="de-DE" altLang="de-DE" sz="900" dirty="0">
                <a:solidFill>
                  <a:srgbClr val="122B54"/>
                </a:solidFill>
                <a:latin typeface="+mj-lt"/>
                <a:cs typeface="Arial" panose="020B0604020202020204" pitchFamily="34" charset="0"/>
              </a:rPr>
              <a:t>– zu jedem Vertrag wird ein Brief versendet</a:t>
            </a:r>
          </a:p>
        </p:txBody>
      </p:sp>
    </p:spTree>
    <p:extLst>
      <p:ext uri="{BB962C8B-B14F-4D97-AF65-F5344CB8AC3E}">
        <p14:creationId xmlns:p14="http://schemas.microsoft.com/office/powerpoint/2010/main" val="41250620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0" y="2244575"/>
            <a:ext cx="11520488" cy="3804767"/>
          </a:xfrm>
          <a:prstGeom prst="rect">
            <a:avLst/>
          </a:prstGeom>
          <a:solidFill>
            <a:srgbClr val="F4F2F2"/>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a:ln>
                <a:noFill/>
              </a:ln>
              <a:solidFill>
                <a:srgbClr val="003781"/>
              </a:solidFill>
              <a:effectLst/>
              <a:uLnTx/>
              <a:uFillTx/>
              <a:latin typeface="Allianz Neo PPT"/>
              <a:ea typeface="+mn-ea"/>
              <a:cs typeface="+mn-cs"/>
            </a:endParaRPr>
          </a:p>
        </p:txBody>
      </p:sp>
      <p:sp>
        <p:nvSpPr>
          <p:cNvPr id="2" name="Title 1"/>
          <p:cNvSpPr>
            <a:spLocks noGrp="1"/>
          </p:cNvSpPr>
          <p:nvPr>
            <p:ph type="title"/>
          </p:nvPr>
        </p:nvSpPr>
        <p:spPr>
          <a:xfrm>
            <a:off x="468312" y="975831"/>
            <a:ext cx="10700871" cy="900114"/>
          </a:xfrm>
        </p:spPr>
        <p:txBody>
          <a:bodyPr/>
          <a:lstStyle/>
          <a:p>
            <a:r>
              <a:rPr lang="de-DE" sz="4800" dirty="0"/>
              <a:t>Brief Zuzahlung </a:t>
            </a:r>
            <a:r>
              <a:rPr lang="de-DE" sz="4800" kern="0" dirty="0">
                <a:solidFill>
                  <a:srgbClr val="13A0D3"/>
                </a:solidFill>
              </a:rPr>
              <a:t>Zuzahlungsmöglichkeiten</a:t>
            </a:r>
            <a:endParaRPr lang="de-DE" sz="4800" dirty="0">
              <a:solidFill>
                <a:srgbClr val="13A0D3"/>
              </a:solidFill>
            </a:endParaRPr>
          </a:p>
        </p:txBody>
      </p:sp>
      <p:sp>
        <p:nvSpPr>
          <p:cNvPr id="9" name="Foliennummernplatzhalter 8"/>
          <p:cNvSpPr>
            <a:spLocks noGrp="1"/>
          </p:cNvSpPr>
          <p:nvPr>
            <p:ph type="sldNum" sz="quarter" idx="4294967295"/>
          </p:nvPr>
        </p:nvSpPr>
        <p:spPr>
          <a:xfrm>
            <a:off x="11052175" y="5205413"/>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6</a:t>
            </a:fld>
            <a:endParaRPr kumimoji="0" lang="en-GB"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85605" y="3953533"/>
            <a:ext cx="3384550" cy="468312"/>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4</a:t>
            </a: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7" y="469045"/>
            <a:ext cx="9143475" cy="251905"/>
          </a:xfrm>
        </p:spPr>
        <p:txBody>
          <a:bodyPr/>
          <a:lstStyle/>
          <a:p>
            <a:pPr defTabSz="864006">
              <a:defRPr/>
            </a:pPr>
            <a:r>
              <a:rPr lang="de-DE" dirty="0">
                <a:solidFill>
                  <a:srgbClr val="003781"/>
                </a:solidFill>
                <a:latin typeface="+mj-lt"/>
                <a:cs typeface="Arial" panose="020B0604020202020204" pitchFamily="34" charset="0"/>
              </a:rPr>
              <a:t>Briefaktion: Förderung und Zuzahlung Einmalbeitragsgeschäft 2024 (</a:t>
            </a:r>
            <a:r>
              <a:rPr lang="de-DE" dirty="0"/>
              <a:t>22783</a:t>
            </a:r>
            <a:r>
              <a:rPr lang="de-DE" dirty="0">
                <a:solidFill>
                  <a:srgbClr val="003781"/>
                </a:solidFill>
                <a:latin typeface="+mj-lt"/>
                <a:cs typeface="Arial" panose="020B0604020202020204" pitchFamily="34" charset="0"/>
              </a:rPr>
              <a:t>)</a:t>
            </a:r>
          </a:p>
        </p:txBody>
      </p:sp>
      <p:sp>
        <p:nvSpPr>
          <p:cNvPr id="38" name="Rechteck 37"/>
          <p:cNvSpPr/>
          <p:nvPr/>
        </p:nvSpPr>
        <p:spPr>
          <a:xfrm>
            <a:off x="550224" y="2318382"/>
            <a:ext cx="10618959" cy="4042132"/>
          </a:xfrm>
          <a:prstGeom prst="rect">
            <a:avLst/>
          </a:prstGeom>
        </p:spPr>
        <p:txBody>
          <a:bodyPr wrap="square" lIns="0" rIns="0">
            <a:spAutoFit/>
          </a:bodyPr>
          <a:lstStyle/>
          <a:p>
            <a:pPr marL="0" marR="0" lvl="0" indent="0" algn="l" defTabSz="1373886" rtl="0" eaLnBrk="1" fontAlgn="auto" latinLnBrk="0" hangingPunct="1">
              <a:lnSpc>
                <a:spcPct val="100000"/>
              </a:lnSpc>
              <a:spcBef>
                <a:spcPts val="0"/>
              </a:spcBef>
              <a:spcAft>
                <a:spcPts val="600"/>
              </a:spcAft>
              <a:buClrTx/>
              <a:buSzTx/>
              <a:buFontTx/>
              <a:buNone/>
              <a:tabLst/>
              <a:defRPr/>
            </a:pPr>
            <a:r>
              <a:rPr lang="de-DE" sz="1200" b="1" spc="8" dirty="0">
                <a:solidFill>
                  <a:srgbClr val="003781"/>
                </a:solidFill>
                <a:latin typeface="Allianz Neo PPT"/>
              </a:rPr>
              <a:t>Bitte beachten Sie die Zuzahlungsmöglichkeiten innerhalb der folgenden Grenzen</a:t>
            </a:r>
            <a:r>
              <a:rPr kumimoji="0" lang="de-DE" sz="1200" b="1" i="0" u="none" strike="noStrike" kern="0" cap="none" spc="0" normalizeH="0" baseline="0" noProof="0" dirty="0">
                <a:ln>
                  <a:noFill/>
                </a:ln>
                <a:solidFill>
                  <a:srgbClr val="003781"/>
                </a:solidFill>
                <a:effectLst/>
                <a:uLnTx/>
                <a:uFillTx/>
                <a:latin typeface="Allianz Neo PPT"/>
                <a:ea typeface="+mn-ea"/>
                <a:cs typeface="+mn-cs"/>
              </a:rPr>
              <a:t>. </a:t>
            </a:r>
            <a:r>
              <a:rPr kumimoji="0" lang="de-DE" sz="1200" b="1" i="0" u="sng" strike="noStrike" kern="0" cap="none" spc="0" normalizeH="0" baseline="0" noProof="0" dirty="0">
                <a:ln>
                  <a:noFill/>
                </a:ln>
                <a:solidFill>
                  <a:srgbClr val="003781"/>
                </a:solidFill>
                <a:effectLst/>
                <a:uLnTx/>
                <a:uFillTx/>
                <a:latin typeface="Allianz Neo PPT"/>
                <a:ea typeface="+mn-ea"/>
                <a:cs typeface="+mn-cs"/>
              </a:rPr>
              <a:t>Es kann steuerliche Auswirkungen haben, sofern die Summe der gesamten Zuzahlungen die Höhe des ursprünglich abgeschlossenen Einmalbetrages überschreitet</a:t>
            </a:r>
            <a:r>
              <a:rPr kumimoji="0" lang="de-DE" sz="1200" b="1" i="0" u="sng" strike="noStrike" kern="0" cap="none" spc="0" normalizeH="0" baseline="30000" noProof="0" dirty="0">
                <a:ln>
                  <a:noFill/>
                </a:ln>
                <a:solidFill>
                  <a:srgbClr val="003781"/>
                </a:solidFill>
                <a:effectLst/>
                <a:uLnTx/>
                <a:uFillTx/>
                <a:latin typeface="Allianz Neo PPT"/>
                <a:ea typeface="+mn-ea"/>
                <a:cs typeface="+mn-cs"/>
              </a:rPr>
              <a:t>1</a:t>
            </a:r>
            <a:r>
              <a:rPr kumimoji="0" lang="de-DE" sz="1200" b="1" i="0" u="sng" strike="noStrike" kern="0" cap="none" spc="0" normalizeH="0" baseline="0" noProof="0" dirty="0">
                <a:ln>
                  <a:noFill/>
                </a:ln>
                <a:solidFill>
                  <a:srgbClr val="003781"/>
                </a:solidFill>
                <a:effectLst/>
                <a:uLnTx/>
                <a:uFillTx/>
                <a:latin typeface="Allianz Neo PPT"/>
                <a:ea typeface="+mn-ea"/>
                <a:cs typeface="+mn-cs"/>
              </a:rPr>
              <a:t>. </a:t>
            </a: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1" i="0" u="none" strike="noStrike" kern="0" cap="none" spc="0" normalizeH="0" baseline="0" noProof="0" dirty="0">
              <a:ln>
                <a:noFill/>
              </a:ln>
              <a:solidFill>
                <a:srgbClr val="003781"/>
              </a:solidFill>
              <a:effectLst/>
              <a:uLnTx/>
              <a:uFillTx/>
              <a:latin typeface="Allianz Neo PPT"/>
              <a:ea typeface="+mn-ea"/>
              <a:cs typeface="+mn-cs"/>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a:ln>
                <a:noFill/>
              </a:ln>
              <a:solidFill>
                <a:srgbClr val="003781"/>
              </a:solidFill>
              <a:effectLst/>
              <a:uLnTx/>
              <a:uFillTx/>
              <a:latin typeface="Allianz Neo PPT"/>
              <a:ea typeface="+mn-ea"/>
              <a:cs typeface="+mn-cs"/>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lang="de-DE" sz="1200" kern="0" dirty="0">
              <a:solidFill>
                <a:srgbClr val="003781"/>
              </a:solidFill>
              <a:latin typeface="Allianz Neo PPT"/>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a:ln>
                <a:noFill/>
              </a:ln>
              <a:solidFill>
                <a:srgbClr val="003781"/>
              </a:solidFill>
              <a:effectLst/>
              <a:uLnTx/>
              <a:uFillTx/>
              <a:latin typeface="Allianz Neo PPT"/>
              <a:ea typeface="+mn-ea"/>
              <a:cs typeface="+mn-cs"/>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a:ln>
                <a:noFill/>
              </a:ln>
              <a:solidFill>
                <a:prstClr val="black"/>
              </a:solidFill>
              <a:effectLst/>
              <a:uLnTx/>
              <a:uFillTx/>
              <a:latin typeface="Allianz Neo PPT"/>
              <a:ea typeface="+mn-ea"/>
              <a:cs typeface="+mn-cs"/>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a:ln>
                <a:noFill/>
              </a:ln>
              <a:solidFill>
                <a:prstClr val="black"/>
              </a:solidFill>
              <a:effectLst/>
              <a:uLnTx/>
              <a:uFillTx/>
              <a:latin typeface="Allianz Neo PPT"/>
              <a:ea typeface="+mn-ea"/>
              <a:cs typeface="+mn-cs"/>
            </a:endParaRPr>
          </a:p>
          <a:p>
            <a:pPr marL="19082" marR="847230" lvl="0" indent="0" algn="l" defTabSz="1373886" rtl="0" eaLnBrk="1" fontAlgn="auto" latinLnBrk="0" hangingPunct="1">
              <a:lnSpc>
                <a:spcPts val="1200"/>
              </a:lnSpc>
              <a:spcBef>
                <a:spcPts val="361"/>
              </a:spcBef>
              <a:spcAft>
                <a:spcPts val="1200"/>
              </a:spcAft>
              <a:buClrTx/>
              <a:buSzTx/>
              <a:buFontTx/>
              <a:buNone/>
              <a:tabLst/>
              <a:defRPr/>
            </a:pPr>
            <a:br>
              <a:rPr lang="de-DE" sz="1200" kern="0" noProof="0" dirty="0">
                <a:solidFill>
                  <a:prstClr val="black"/>
                </a:solidFill>
                <a:latin typeface="Allianz Neo PPT"/>
              </a:rPr>
            </a:br>
            <a:endParaRPr lang="de-DE" sz="1200" b="1" spc="8" dirty="0">
              <a:solidFill>
                <a:srgbClr val="003781"/>
              </a:solidFill>
              <a:latin typeface="Allianz Neo PPT"/>
            </a:endParaRPr>
          </a:p>
          <a:p>
            <a:pPr marL="19082" marR="847230" lvl="0" indent="0" algn="l" defTabSz="1373886" rtl="0" eaLnBrk="1" fontAlgn="auto" latinLnBrk="0" hangingPunct="1">
              <a:lnSpc>
                <a:spcPts val="1200"/>
              </a:lnSpc>
              <a:spcBef>
                <a:spcPts val="361"/>
              </a:spcBef>
              <a:spcAft>
                <a:spcPts val="600"/>
              </a:spcAft>
              <a:buClrTx/>
              <a:buSzTx/>
              <a:buFontTx/>
              <a:buNone/>
              <a:tabLst/>
              <a:defRPr/>
            </a:pPr>
            <a:r>
              <a:rPr lang="de-DE" sz="1200" b="1" kern="0" dirty="0">
                <a:solidFill>
                  <a:srgbClr val="003781"/>
                </a:solidFill>
                <a:latin typeface="Allianz Neo PPT"/>
              </a:rPr>
              <a:t>Schnell und sicher. Einfacher kann eine Zuzahlung nicht sein.</a:t>
            </a:r>
          </a:p>
          <a:p>
            <a:pPr marL="171450" marR="847230" lvl="0" indent="-171450" algn="l" defTabSz="1373886" rtl="0" eaLnBrk="1" fontAlgn="auto" latinLnBrk="0" hangingPunct="1">
              <a:lnSpc>
                <a:spcPts val="1200"/>
              </a:lnSpc>
              <a:spcBef>
                <a:spcPts val="0"/>
              </a:spcBef>
              <a:spcAft>
                <a:spcPts val="600"/>
              </a:spcAft>
              <a:buClrTx/>
              <a:buSzTx/>
              <a:buFont typeface="Wingdings" panose="05000000000000000000" pitchFamily="2" charset="2"/>
              <a:buChar char="ü"/>
              <a:tabLst/>
              <a:defRPr/>
            </a:pPr>
            <a:r>
              <a:rPr kumimoji="0" lang="de-DE" sz="1100" b="0" i="0" u="none" strike="noStrike" kern="1200" cap="none" spc="0" normalizeH="0" baseline="0" noProof="0" dirty="0">
                <a:ln>
                  <a:noFill/>
                </a:ln>
                <a:solidFill>
                  <a:srgbClr val="003781"/>
                </a:solidFill>
                <a:effectLst/>
                <a:uLnTx/>
                <a:uFillTx/>
                <a:ea typeface="+mn-ea"/>
                <a:cs typeface="+mn-cs"/>
              </a:rPr>
              <a:t>Der gewünschte Zuzahlungsbetrag kann mit einer Überweisung auf die entsprechende Bankverbindung (siehe nächste Seite) eingezahlt werden. </a:t>
            </a:r>
          </a:p>
          <a:p>
            <a:pPr marL="171450" marR="847230" lvl="0" indent="-171450" algn="l" defTabSz="1373886" rtl="0" eaLnBrk="1" fontAlgn="auto" latinLnBrk="0" hangingPunct="1">
              <a:lnSpc>
                <a:spcPts val="1200"/>
              </a:lnSpc>
              <a:spcBef>
                <a:spcPts val="0"/>
              </a:spcBef>
              <a:spcAft>
                <a:spcPts val="600"/>
              </a:spcAft>
              <a:buClrTx/>
              <a:buSzTx/>
              <a:buFont typeface="Wingdings" panose="05000000000000000000" pitchFamily="2" charset="2"/>
              <a:buChar char="ü"/>
              <a:tabLst/>
              <a:defRPr/>
            </a:pPr>
            <a:r>
              <a:rPr kumimoji="0" lang="de-DE" sz="1100" b="0" i="0" u="none" strike="noStrike" kern="1200" cap="none" spc="0" normalizeH="0" baseline="0" noProof="0" dirty="0">
                <a:ln>
                  <a:noFill/>
                </a:ln>
                <a:solidFill>
                  <a:srgbClr val="003781"/>
                </a:solidFill>
                <a:effectLst/>
                <a:uLnTx/>
                <a:uFillTx/>
                <a:ea typeface="+mn-ea"/>
                <a:cs typeface="+mn-cs"/>
              </a:rPr>
              <a:t>Für eine korrekte Zuordnung muss die Versicherungsnummer des Kunden, sowie der Name des Versicherungsnehmers im Verwendungszweck angegeben werden.</a:t>
            </a:r>
          </a:p>
          <a:p>
            <a:pPr marL="171450" marR="0" lvl="0" indent="-171450" algn="l" defTabSz="1373886"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de-DE" sz="1100" b="0" i="0" u="none" strike="noStrike" kern="1200" cap="none" spc="0" normalizeH="0" baseline="0" noProof="0" dirty="0">
                <a:ln>
                  <a:noFill/>
                </a:ln>
                <a:solidFill>
                  <a:srgbClr val="003781"/>
                </a:solidFill>
                <a:effectLst/>
                <a:uLnTx/>
                <a:uFillTx/>
                <a:ea typeface="+mn-ea"/>
                <a:cs typeface="+mn-cs"/>
              </a:rPr>
              <a:t>Die Bestätigung zu dem Nachtrag erhält Ihr Kunde von Allianz Leben.</a:t>
            </a:r>
          </a:p>
          <a:p>
            <a:pPr marR="0" lvl="0" algn="l" defTabSz="1373886" rtl="0" eaLnBrk="1" fontAlgn="auto" latinLnBrk="0" hangingPunct="1">
              <a:lnSpc>
                <a:spcPct val="100000"/>
              </a:lnSpc>
              <a:spcBef>
                <a:spcPts val="0"/>
              </a:spcBef>
              <a:spcAft>
                <a:spcPts val="600"/>
              </a:spcAft>
              <a:buClrTx/>
              <a:buSzTx/>
              <a:tabLst/>
              <a:defRPr/>
            </a:pPr>
            <a:endParaRPr lang="de-DE" sz="800" kern="0" dirty="0">
              <a:solidFill>
                <a:schemeClr val="bg1"/>
              </a:solidFill>
              <a:latin typeface="Allianz Neo" panose="020B0504020203020204" pitchFamily="34" charset="0"/>
              <a:cs typeface="Arial" panose="020B0604020202020204" pitchFamily="34" charset="0"/>
            </a:endParaRPr>
          </a:p>
        </p:txBody>
      </p:sp>
      <p:sp>
        <p:nvSpPr>
          <p:cNvPr id="43" name="Rechteck 42"/>
          <p:cNvSpPr/>
          <p:nvPr/>
        </p:nvSpPr>
        <p:spPr>
          <a:xfrm>
            <a:off x="468312" y="2957695"/>
            <a:ext cx="6034939" cy="449871"/>
          </a:xfrm>
          <a:prstGeom prst="rect">
            <a:avLst/>
          </a:prstGeom>
          <a:noFill/>
          <a:ln w="25400" cap="flat" cmpd="sng" algn="ctr">
            <a:noFill/>
            <a:prstDash val="solid"/>
          </a:ln>
          <a:effectLst/>
        </p:spPr>
        <p:txBody>
          <a:bodyPr rtlCol="0" anchor="ctr"/>
          <a:lstStyle/>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a:ln>
                <a:noFill/>
              </a:ln>
              <a:solidFill>
                <a:prstClr val="black"/>
              </a:solidFill>
              <a:effectLst/>
              <a:uLnTx/>
              <a:uFillTx/>
              <a:latin typeface="Allianz Neo Light" pitchFamily="34" charset="0"/>
              <a:ea typeface="+mn-ea"/>
              <a:cs typeface="+mn-cs"/>
            </a:endParaRPr>
          </a:p>
        </p:txBody>
      </p:sp>
      <p:graphicFrame>
        <p:nvGraphicFramePr>
          <p:cNvPr id="44" name="Tabelle 43"/>
          <p:cNvGraphicFramePr>
            <a:graphicFrameLocks noGrp="1"/>
          </p:cNvGraphicFramePr>
          <p:nvPr>
            <p:extLst>
              <p:ext uri="{D42A27DB-BD31-4B8C-83A1-F6EECF244321}">
                <p14:modId xmlns:p14="http://schemas.microsoft.com/office/powerpoint/2010/main" val="3594868243"/>
              </p:ext>
            </p:extLst>
          </p:nvPr>
        </p:nvGraphicFramePr>
        <p:xfrm>
          <a:off x="533321" y="2857027"/>
          <a:ext cx="10501951" cy="1905892"/>
        </p:xfrm>
        <a:graphic>
          <a:graphicData uri="http://schemas.openxmlformats.org/drawingml/2006/table">
            <a:tbl>
              <a:tblPr firstCol="1" bandRow="1"/>
              <a:tblGrid>
                <a:gridCol w="3386345">
                  <a:extLst>
                    <a:ext uri="{9D8B030D-6E8A-4147-A177-3AD203B41FA5}">
                      <a16:colId xmlns:a16="http://schemas.microsoft.com/office/drawing/2014/main" val="20000"/>
                    </a:ext>
                  </a:extLst>
                </a:gridCol>
                <a:gridCol w="7115606">
                  <a:extLst>
                    <a:ext uri="{9D8B030D-6E8A-4147-A177-3AD203B41FA5}">
                      <a16:colId xmlns:a16="http://schemas.microsoft.com/office/drawing/2014/main" val="20001"/>
                    </a:ext>
                  </a:extLst>
                </a:gridCol>
              </a:tblGrid>
              <a:tr h="476473">
                <a:tc>
                  <a:txBody>
                    <a:bodyPr/>
                    <a:lstStyle/>
                    <a:p>
                      <a:r>
                        <a:rPr lang="de-DE" sz="1800" b="1" baseline="30000">
                          <a:latin typeface="+mn-lt"/>
                        </a:rPr>
                        <a:t>Verträge bis 2005</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solidFill>
                  </a:tcPr>
                </a:tc>
                <a:tc>
                  <a:txBody>
                    <a:bodyPr/>
                    <a:lstStyle/>
                    <a:p>
                      <a:r>
                        <a:rPr lang="de-DE" sz="1200" kern="1200">
                          <a:solidFill>
                            <a:schemeClr val="dk1"/>
                          </a:solidFill>
                          <a:latin typeface="+mn-lt"/>
                          <a:ea typeface="+mn-ea"/>
                          <a:cs typeface="+mn-cs"/>
                        </a:rPr>
                        <a:t>Keine Zuzahlung möglich</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BACC6">
                        <a:tint val="40000"/>
                      </a:srgbClr>
                    </a:solidFill>
                  </a:tcPr>
                </a:tc>
                <a:extLst>
                  <a:ext uri="{0D108BD9-81ED-4DB2-BD59-A6C34878D82A}">
                    <a16:rowId xmlns:a16="http://schemas.microsoft.com/office/drawing/2014/main" val="2847299166"/>
                  </a:ext>
                </a:extLst>
              </a:tr>
              <a:tr h="47647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b="1">
                          <a:latin typeface="+mn-lt"/>
                        </a:rPr>
                        <a:t>Verträge </a:t>
                      </a:r>
                      <a:br>
                        <a:rPr lang="de-DE" sz="1200" b="1">
                          <a:latin typeface="+mn-lt"/>
                        </a:rPr>
                      </a:br>
                      <a:r>
                        <a:rPr lang="de-DE" sz="1200" b="1">
                          <a:latin typeface="+mn-lt"/>
                        </a:rPr>
                        <a:t>bis 12/2018</a:t>
                      </a:r>
                      <a:endParaRPr lang="de-DE" sz="1200" b="1" baseline="30000">
                        <a:latin typeface="+mn-lt"/>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dk1"/>
                          </a:solidFill>
                          <a:latin typeface="+mn-lt"/>
                          <a:ea typeface="+mn-ea"/>
                          <a:cs typeface="+mn-cs"/>
                        </a:rPr>
                        <a:t>Zuzahlung mindestens 1.000 EUR und maximal 20.000 EUR je Versicherungsjahr  </a:t>
                      </a: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9F1F5"/>
                    </a:solidFill>
                  </a:tcPr>
                </a:tc>
                <a:extLst>
                  <a:ext uri="{0D108BD9-81ED-4DB2-BD59-A6C34878D82A}">
                    <a16:rowId xmlns:a16="http://schemas.microsoft.com/office/drawing/2014/main" val="10000"/>
                  </a:ext>
                </a:extLst>
              </a:tr>
              <a:tr h="47647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r>
                        <a:rPr lang="de-DE" sz="1200" b="1">
                          <a:solidFill>
                            <a:schemeClr val="lt1"/>
                          </a:solidFill>
                          <a:latin typeface="+mn-lt"/>
                          <a:ea typeface="+mn-ea"/>
                          <a:cs typeface="+mn-cs"/>
                        </a:rPr>
                        <a:t>Verträge</a:t>
                      </a:r>
                      <a:br>
                        <a:rPr lang="de-DE" sz="1200" b="1">
                          <a:solidFill>
                            <a:schemeClr val="lt1"/>
                          </a:solidFill>
                          <a:latin typeface="+mn-lt"/>
                          <a:ea typeface="+mn-ea"/>
                          <a:cs typeface="+mn-cs"/>
                        </a:rPr>
                      </a:br>
                      <a:r>
                        <a:rPr lang="de-DE" sz="1200" b="1">
                          <a:solidFill>
                            <a:schemeClr val="lt1"/>
                          </a:solidFill>
                          <a:latin typeface="+mn-lt"/>
                          <a:ea typeface="+mn-ea"/>
                          <a:cs typeface="+mn-cs"/>
                        </a:rPr>
                        <a:t>ab 01/2019</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defTabSz="914400" eaLnBrk="1" fontAlgn="auto" latinLnBrk="0" hangingPunct="1">
                        <a:lnSpc>
                          <a:spcPct val="100000"/>
                        </a:lnSpc>
                        <a:spcBef>
                          <a:spcPts val="0"/>
                        </a:spcBef>
                        <a:spcAft>
                          <a:spcPts val="0"/>
                        </a:spcAft>
                        <a:buClrTx/>
                        <a:buSzTx/>
                        <a:buFontTx/>
                        <a:buNone/>
                        <a:tabLst/>
                        <a:defRPr/>
                      </a:pPr>
                      <a:r>
                        <a:rPr lang="de-DE" sz="1200">
                          <a:solidFill>
                            <a:schemeClr val="dk1"/>
                          </a:solidFill>
                          <a:latin typeface="+mn-lt"/>
                          <a:ea typeface="+mn-ea"/>
                          <a:cs typeface="+mn-cs"/>
                        </a:rPr>
                        <a:t>Zuzahlung </a:t>
                      </a:r>
                      <a:r>
                        <a:rPr lang="de-DE" sz="1200">
                          <a:latin typeface="+mn-lt"/>
                        </a:rPr>
                        <a:t>mindestens</a:t>
                      </a:r>
                      <a:r>
                        <a:rPr lang="de-DE" sz="1200">
                          <a:solidFill>
                            <a:schemeClr val="dk1"/>
                          </a:solidFill>
                          <a:latin typeface="+mn-lt"/>
                          <a:ea typeface="+mn-ea"/>
                          <a:cs typeface="+mn-cs"/>
                        </a:rPr>
                        <a:t> 500 EUR und maximal 30.000 EUR je Versicherungsjahr  </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F1F5"/>
                    </a:solidFill>
                  </a:tcPr>
                </a:tc>
                <a:extLst>
                  <a:ext uri="{0D108BD9-81ED-4DB2-BD59-A6C34878D82A}">
                    <a16:rowId xmlns:a16="http://schemas.microsoft.com/office/drawing/2014/main" val="10001"/>
                  </a:ext>
                </a:extLst>
              </a:tr>
              <a:tr h="476473">
                <a:tc>
                  <a:txBody>
                    <a:bodyPr/>
                    <a:lstStyle/>
                    <a:p>
                      <a:pPr marL="0"/>
                      <a:r>
                        <a:rPr lang="de-DE" sz="1200" b="1">
                          <a:solidFill>
                            <a:schemeClr val="lt1"/>
                          </a:solidFill>
                          <a:latin typeface="+mn-lt"/>
                          <a:ea typeface="+mn-ea"/>
                          <a:cs typeface="+mn-cs"/>
                        </a:rPr>
                        <a:t>Verträge</a:t>
                      </a:r>
                      <a:r>
                        <a:rPr lang="de-DE" sz="1200" b="1" baseline="0">
                          <a:solidFill>
                            <a:schemeClr val="lt1"/>
                          </a:solidFill>
                          <a:latin typeface="+mn-lt"/>
                          <a:ea typeface="+mn-ea"/>
                          <a:cs typeface="+mn-cs"/>
                        </a:rPr>
                        <a:t> ab 07/2021: </a:t>
                      </a:r>
                      <a:r>
                        <a:rPr lang="de-DE" sz="1200" b="1" baseline="0" err="1">
                          <a:solidFill>
                            <a:schemeClr val="lt1"/>
                          </a:solidFill>
                          <a:latin typeface="+mn-lt"/>
                          <a:ea typeface="+mn-ea"/>
                          <a:cs typeface="+mn-cs"/>
                        </a:rPr>
                        <a:t>InvestFlex</a:t>
                      </a:r>
                      <a:r>
                        <a:rPr lang="de-DE" sz="1200" b="1" baseline="0">
                          <a:solidFill>
                            <a:schemeClr val="lt1"/>
                          </a:solidFill>
                          <a:latin typeface="+mn-lt"/>
                          <a:ea typeface="+mn-ea"/>
                          <a:cs typeface="+mn-cs"/>
                        </a:rPr>
                        <a:t> ohne Garantie &amp; </a:t>
                      </a:r>
                      <a:r>
                        <a:rPr lang="de-DE" sz="1200" b="1" baseline="0" err="1">
                          <a:solidFill>
                            <a:schemeClr val="lt1"/>
                          </a:solidFill>
                          <a:latin typeface="+mn-lt"/>
                          <a:ea typeface="+mn-ea"/>
                          <a:cs typeface="+mn-cs"/>
                        </a:rPr>
                        <a:t>InvestFlex</a:t>
                      </a:r>
                      <a:r>
                        <a:rPr lang="de-DE" sz="1200" b="1" baseline="0">
                          <a:solidFill>
                            <a:schemeClr val="lt1"/>
                          </a:solidFill>
                          <a:latin typeface="+mn-lt"/>
                          <a:ea typeface="+mn-ea"/>
                          <a:cs typeface="+mn-cs"/>
                        </a:rPr>
                        <a:t> Green ohne Garantie</a:t>
                      </a:r>
                      <a:endParaRPr lang="de-DE" sz="1200" b="1">
                        <a:solidFill>
                          <a:schemeClr val="lt1"/>
                        </a:solidFill>
                        <a:latin typeface="+mn-lt"/>
                        <a:ea typeface="+mn-ea"/>
                        <a:cs typeface="+mn-cs"/>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de-DE" sz="1200" dirty="0">
                          <a:solidFill>
                            <a:schemeClr val="dk1"/>
                          </a:solidFill>
                          <a:latin typeface="+mn-lt"/>
                          <a:ea typeface="+mn-ea"/>
                          <a:cs typeface="+mn-cs"/>
                        </a:rPr>
                        <a:t>Zuzahlung mindestens 500 EUR und maximal 2,5 Millionen EUR für</a:t>
                      </a:r>
                      <a:r>
                        <a:rPr lang="de-DE" sz="1200" baseline="0" dirty="0">
                          <a:solidFill>
                            <a:schemeClr val="dk1"/>
                          </a:solidFill>
                          <a:latin typeface="+mn-lt"/>
                          <a:ea typeface="+mn-ea"/>
                          <a:cs typeface="+mn-cs"/>
                        </a:rPr>
                        <a:t> die gesamte Vertragslaufzeit</a:t>
                      </a:r>
                      <a:endParaRPr lang="de-DE" sz="1200" dirty="0">
                        <a:solidFill>
                          <a:schemeClr val="dk1"/>
                        </a:solidFill>
                        <a:latin typeface="+mn-lt"/>
                        <a:ea typeface="+mn-ea"/>
                        <a:cs typeface="+mn-cs"/>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20000"/>
                      </a:srgbClr>
                    </a:solidFill>
                  </a:tcPr>
                </a:tc>
                <a:extLst>
                  <a:ext uri="{0D108BD9-81ED-4DB2-BD59-A6C34878D82A}">
                    <a16:rowId xmlns:a16="http://schemas.microsoft.com/office/drawing/2014/main" val="1915049082"/>
                  </a:ext>
                </a:extLst>
              </a:tr>
            </a:tbl>
          </a:graphicData>
        </a:graphic>
      </p:graphicFrame>
      <p:sp>
        <p:nvSpPr>
          <p:cNvPr id="3" name="Textfeld 2">
            <a:extLst>
              <a:ext uri="{FF2B5EF4-FFF2-40B4-BE49-F238E27FC236}">
                <a16:creationId xmlns:a16="http://schemas.microsoft.com/office/drawing/2014/main" id="{54ECFA0F-ED57-B720-5066-42B9A7D69165}"/>
              </a:ext>
            </a:extLst>
          </p:cNvPr>
          <p:cNvSpPr txBox="1"/>
          <p:nvPr/>
        </p:nvSpPr>
        <p:spPr>
          <a:xfrm>
            <a:off x="732324" y="6178291"/>
            <a:ext cx="9625165" cy="246221"/>
          </a:xfrm>
          <a:prstGeom prst="rect">
            <a:avLst/>
          </a:prstGeom>
        </p:spPr>
        <p:txBody>
          <a:bodyPr wrap="square" lIns="0" tIns="0" rIns="0" bIns="0" rtlCol="0">
            <a:spAutoFit/>
          </a:bodyPr>
          <a:lstStyle/>
          <a:p>
            <a:pPr algn="l">
              <a:spcAft>
                <a:spcPts val="600"/>
              </a:spcAft>
            </a:pPr>
            <a:r>
              <a:rPr lang="de-DE" sz="800" baseline="30000" dirty="0">
                <a:solidFill>
                  <a:srgbClr val="003781"/>
                </a:solidFill>
              </a:rPr>
              <a:t>1</a:t>
            </a:r>
            <a:r>
              <a:rPr lang="de-DE" sz="800" dirty="0">
                <a:solidFill>
                  <a:srgbClr val="003781"/>
                </a:solidFill>
              </a:rPr>
              <a:t>Kunden, die zum Zeitpunkt der Selektion aufgrund der Höhe der Zuzahlung novationsgefährdet sind, werden aus dem Briefversand Zuzahlung ausgeschlossen. In den Filter- und Sortierfelder können Sie zusätzlich auf die Kennung „novationsgefährdet“ filtern. </a:t>
            </a:r>
          </a:p>
        </p:txBody>
      </p:sp>
    </p:spTree>
    <p:extLst>
      <p:ext uri="{BB962C8B-B14F-4D97-AF65-F5344CB8AC3E}">
        <p14:creationId xmlns:p14="http://schemas.microsoft.com/office/powerpoint/2010/main" val="3022098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1" y="2268538"/>
            <a:ext cx="11520488" cy="2557463"/>
          </a:xfrm>
          <a:prstGeom prst="rect">
            <a:avLst/>
          </a:prstGeom>
          <a:solidFill>
            <a:srgbClr val="F4F2F2"/>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 name="Title 1"/>
          <p:cNvSpPr>
            <a:spLocks noGrp="1"/>
          </p:cNvSpPr>
          <p:nvPr>
            <p:ph type="title"/>
          </p:nvPr>
        </p:nvSpPr>
        <p:spPr/>
        <p:txBody>
          <a:bodyPr/>
          <a:lstStyle/>
          <a:p>
            <a:r>
              <a:rPr lang="de-DE" sz="4800" dirty="0"/>
              <a:t>Brief Zuzahlung </a:t>
            </a:r>
            <a:r>
              <a:rPr lang="de-DE" sz="4800" dirty="0">
                <a:solidFill>
                  <a:srgbClr val="13A0D3"/>
                </a:solidFill>
              </a:rPr>
              <a:t>Bankverbindungen</a:t>
            </a:r>
            <a:endParaRPr lang="de-DE" sz="4800" dirty="0">
              <a:solidFill>
                <a:srgbClr val="13A0D3"/>
              </a:solidFill>
              <a:latin typeface="Arial" panose="020B0604020202020204" pitchFamily="34" charset="0"/>
              <a:cs typeface="Arial" panose="020B0604020202020204" pitchFamily="34" charset="0"/>
            </a:endParaRPr>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rial" panose="020B0604020202020204" pitchFamily="34" charset="0"/>
                <a:cs typeface="Arial" panose="020B0604020202020204" pitchFamily="34" charset="0"/>
              </a:rPr>
              <a:pPr marL="0" marR="0" lvl="0" indent="0" algn="l" defTabSz="864017" rtl="0" eaLnBrk="1" fontAlgn="auto" latinLnBrk="0" hangingPunct="1">
                <a:lnSpc>
                  <a:spcPct val="100000"/>
                </a:lnSpc>
                <a:spcBef>
                  <a:spcPts val="0"/>
                </a:spcBef>
                <a:spcAft>
                  <a:spcPts val="0"/>
                </a:spcAft>
                <a:buClrTx/>
                <a:buSzTx/>
                <a:buFontTx/>
                <a:buNone/>
                <a:tabLst/>
                <a:defRPr/>
              </a:pPr>
              <a:t>7</a:t>
            </a:fld>
            <a:endParaRPr kumimoji="0" lang="en-GB" sz="75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94058" y="3726657"/>
            <a:ext cx="3384550" cy="468312"/>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llianz 2024</a:t>
            </a:r>
          </a:p>
        </p:txBody>
      </p:sp>
      <p:sp>
        <p:nvSpPr>
          <p:cNvPr id="31" name="Textplatzhalter 2"/>
          <p:cNvSpPr txBox="1">
            <a:spLocks/>
          </p:cNvSpPr>
          <p:nvPr/>
        </p:nvSpPr>
        <p:spPr>
          <a:xfrm>
            <a:off x="482007" y="6088692"/>
            <a:ext cx="2837542" cy="162479"/>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7" y="469045"/>
            <a:ext cx="7211686" cy="251905"/>
          </a:xfrm>
        </p:spPr>
        <p:txBody>
          <a:bodyPr/>
          <a:lstStyle/>
          <a:p>
            <a:pPr defTabSz="864006">
              <a:defRPr/>
            </a:pPr>
            <a:r>
              <a:rPr lang="de-DE" dirty="0">
                <a:solidFill>
                  <a:srgbClr val="003781"/>
                </a:solidFill>
                <a:latin typeface="+mj-lt"/>
                <a:cs typeface="Arial" panose="020B0604020202020204" pitchFamily="34" charset="0"/>
              </a:rPr>
              <a:t>Briefaktion: Förderung und Zuzahlung Einmalbeitragsgeschäft 2024 (</a:t>
            </a:r>
            <a:r>
              <a:rPr lang="de-DE" dirty="0"/>
              <a:t>22783</a:t>
            </a:r>
            <a:r>
              <a:rPr lang="de-DE" dirty="0">
                <a:solidFill>
                  <a:srgbClr val="003781"/>
                </a:solidFill>
                <a:latin typeface="+mj-lt"/>
                <a:cs typeface="Arial" panose="020B0604020202020204" pitchFamily="34" charset="0"/>
              </a:rPr>
              <a:t>)</a:t>
            </a:r>
          </a:p>
          <a:p>
            <a:pPr defTabSz="864006">
              <a:defRPr/>
            </a:pPr>
            <a:r>
              <a:rPr lang="de-DE" dirty="0">
                <a:solidFill>
                  <a:srgbClr val="003781"/>
                </a:solidFill>
                <a:latin typeface="+mj-lt"/>
                <a:cs typeface="Arial" panose="020B0604020202020204" pitchFamily="34" charset="0"/>
              </a:rPr>
              <a:t>)</a:t>
            </a:r>
          </a:p>
        </p:txBody>
      </p:sp>
      <p:sp>
        <p:nvSpPr>
          <p:cNvPr id="15" name="Rechteck 14"/>
          <p:cNvSpPr/>
          <p:nvPr/>
        </p:nvSpPr>
        <p:spPr>
          <a:xfrm>
            <a:off x="468314" y="2383599"/>
            <a:ext cx="12006329" cy="1220847"/>
          </a:xfrm>
          <a:prstGeom prst="rect">
            <a:avLst/>
          </a:prstGeom>
        </p:spPr>
        <p:txBody>
          <a:bodyPr wrap="square" lIns="72000" rIns="72000">
            <a:spAutoFit/>
          </a:bodyPr>
          <a:lstStyle/>
          <a:p>
            <a:pPr marL="19082" marR="847230" lvl="0" indent="0" algn="l" defTabSz="1373886" rtl="0" eaLnBrk="1" fontAlgn="auto" latinLnBrk="0" hangingPunct="1">
              <a:lnSpc>
                <a:spcPct val="100000"/>
              </a:lnSpc>
              <a:spcBef>
                <a:spcPts val="0"/>
              </a:spcBef>
              <a:spcAft>
                <a:spcPts val="400"/>
              </a:spcAft>
              <a:buClrTx/>
              <a:buSzTx/>
              <a:buFontTx/>
              <a:buNone/>
              <a:tabLst/>
              <a:defRPr/>
            </a:pPr>
            <a:r>
              <a:rPr kumimoji="0" lang="de-DE" sz="1200" b="1" i="0" u="none" strike="noStrike" kern="1200" cap="none" spc="8" normalizeH="0" baseline="0" noProof="0" dirty="0">
                <a:ln>
                  <a:noFill/>
                </a:ln>
                <a:solidFill>
                  <a:srgbClr val="003781"/>
                </a:solidFill>
                <a:effectLst/>
                <a:uLnTx/>
                <a:uFillTx/>
                <a:latin typeface="Allianz Neo PPT" panose="020B0604020202020204" charset="0"/>
                <a:cs typeface="Arial" panose="020B0604020202020204" pitchFamily="34" charset="0"/>
              </a:rPr>
              <a:t>Bitte beachten Sie, dass es unterschiedliche Bankverbindungen für Zuzahlungen bei klassisch- und bei ABS-verwalteten Verträgen gibt:</a:t>
            </a:r>
          </a:p>
          <a:p>
            <a:pPr marL="190532" marR="847230" lvl="0" indent="-171450" algn="l" defTabSz="1373886"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de-DE" sz="1200" b="0" i="0" u="none" strike="noStrike" kern="1200" cap="none" spc="8" normalizeH="0" baseline="0" noProof="0" dirty="0">
                <a:ln>
                  <a:noFill/>
                </a:ln>
                <a:solidFill>
                  <a:srgbClr val="003781"/>
                </a:solidFill>
                <a:effectLst/>
                <a:uLnTx/>
                <a:uFillTx/>
                <a:latin typeface="Allianz Neo PPT" panose="020B0604020202020204" charset="0"/>
                <a:cs typeface="Arial" panose="020B0604020202020204" pitchFamily="34" charset="0"/>
              </a:rPr>
              <a:t>Beispiele für Versicherungsnummern von klassisch-verwalteten Verträgen (VersDB): </a:t>
            </a:r>
            <a:r>
              <a:rPr kumimoji="0" lang="de-DE" sz="1200" b="1" i="0" u="none" strike="noStrike" kern="1200" cap="none" spc="8" normalizeH="0" baseline="0" noProof="0" dirty="0">
                <a:ln>
                  <a:noFill/>
                </a:ln>
                <a:solidFill>
                  <a:srgbClr val="003781"/>
                </a:solidFill>
                <a:effectLst/>
                <a:uLnTx/>
                <a:uFillTx/>
                <a:latin typeface="Allianz Neo PPT" panose="020B0604020202020204" charset="0"/>
                <a:cs typeface="Arial" panose="020B0604020202020204" pitchFamily="34" charset="0"/>
              </a:rPr>
              <a:t>312 345 678, 4/123456/1234, 6/123456/1256</a:t>
            </a:r>
          </a:p>
          <a:p>
            <a:pPr marL="190532" marR="847230" lvl="0" indent="-171450" algn="l" defTabSz="1373886"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de-DE" sz="1200" b="0" i="0" u="none" strike="noStrike" kern="1200" cap="none" spc="8" normalizeH="0" baseline="0" noProof="0" dirty="0">
                <a:ln>
                  <a:noFill/>
                </a:ln>
                <a:solidFill>
                  <a:srgbClr val="003781"/>
                </a:solidFill>
                <a:effectLst/>
                <a:uLnTx/>
                <a:uFillTx/>
                <a:latin typeface="Allianz Neo PPT" panose="020B0604020202020204" charset="0"/>
                <a:cs typeface="Arial" panose="020B0604020202020204" pitchFamily="34" charset="0"/>
              </a:rPr>
              <a:t>Beispiel für eine Versicherungsnummer von ABS-verwalteten Verträgen: </a:t>
            </a:r>
            <a:r>
              <a:rPr kumimoji="0" lang="de-DE" sz="1200" b="1" i="0" u="none" strike="noStrike" kern="1200" cap="none" spc="8" normalizeH="0" baseline="0" noProof="0" dirty="0">
                <a:ln>
                  <a:noFill/>
                </a:ln>
                <a:solidFill>
                  <a:srgbClr val="003781"/>
                </a:solidFill>
                <a:effectLst/>
                <a:uLnTx/>
                <a:uFillTx/>
                <a:latin typeface="Allianz Neo PPT" panose="020B0604020202020204" charset="0"/>
                <a:cs typeface="Arial" panose="020B0604020202020204" pitchFamily="34" charset="0"/>
              </a:rPr>
              <a:t>AL-12345687</a:t>
            </a:r>
          </a:p>
          <a:p>
            <a:pPr marL="190532" marR="847230" lvl="0" indent="-171450" algn="l" defTabSz="1373886"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de-DE" sz="1200" b="0"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19082" marR="847230" lvl="0" indent="0" algn="l" defTabSz="1373886" rtl="0" eaLnBrk="1" fontAlgn="auto" latinLnBrk="0" hangingPunct="1">
              <a:lnSpc>
                <a:spcPct val="100000"/>
              </a:lnSpc>
              <a:spcBef>
                <a:spcPts val="0"/>
              </a:spcBef>
              <a:spcAft>
                <a:spcPts val="400"/>
              </a:spcAft>
              <a:buClrTx/>
              <a:buSzTx/>
              <a:buFontTx/>
              <a:buNone/>
              <a:tabLst/>
              <a:defRPr/>
            </a:pPr>
            <a:endParaRPr kumimoji="0" lang="de-DE" sz="1200" b="1"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graphicFrame>
        <p:nvGraphicFramePr>
          <p:cNvPr id="6" name="Tabelle 5">
            <a:extLst>
              <a:ext uri="{FF2B5EF4-FFF2-40B4-BE49-F238E27FC236}">
                <a16:creationId xmlns:a16="http://schemas.microsoft.com/office/drawing/2014/main" id="{8DADA4E8-4953-1D47-BDDB-A881132236FF}"/>
              </a:ext>
            </a:extLst>
          </p:cNvPr>
          <p:cNvGraphicFramePr>
            <a:graphicFrameLocks noGrp="1"/>
          </p:cNvGraphicFramePr>
          <p:nvPr>
            <p:extLst>
              <p:ext uri="{D42A27DB-BD31-4B8C-83A1-F6EECF244321}">
                <p14:modId xmlns:p14="http://schemas.microsoft.com/office/powerpoint/2010/main" val="949690362"/>
              </p:ext>
            </p:extLst>
          </p:nvPr>
        </p:nvGraphicFramePr>
        <p:xfrm>
          <a:off x="482007" y="3283936"/>
          <a:ext cx="9980010" cy="822960"/>
        </p:xfrm>
        <a:graphic>
          <a:graphicData uri="http://schemas.openxmlformats.org/drawingml/2006/table">
            <a:tbl>
              <a:tblPr firstRow="1" bandRow="1"/>
              <a:tblGrid>
                <a:gridCol w="3432601">
                  <a:extLst>
                    <a:ext uri="{9D8B030D-6E8A-4147-A177-3AD203B41FA5}">
                      <a16:colId xmlns:a16="http://schemas.microsoft.com/office/drawing/2014/main" val="942871858"/>
                    </a:ext>
                  </a:extLst>
                </a:gridCol>
                <a:gridCol w="2658358">
                  <a:extLst>
                    <a:ext uri="{9D8B030D-6E8A-4147-A177-3AD203B41FA5}">
                      <a16:colId xmlns:a16="http://schemas.microsoft.com/office/drawing/2014/main" val="1836898555"/>
                    </a:ext>
                  </a:extLst>
                </a:gridCol>
                <a:gridCol w="1847654">
                  <a:extLst>
                    <a:ext uri="{9D8B030D-6E8A-4147-A177-3AD203B41FA5}">
                      <a16:colId xmlns:a16="http://schemas.microsoft.com/office/drawing/2014/main" val="2915674637"/>
                    </a:ext>
                  </a:extLst>
                </a:gridCol>
                <a:gridCol w="2041397">
                  <a:extLst>
                    <a:ext uri="{9D8B030D-6E8A-4147-A177-3AD203B41FA5}">
                      <a16:colId xmlns:a16="http://schemas.microsoft.com/office/drawing/2014/main" val="4195116765"/>
                    </a:ext>
                  </a:extLst>
                </a:gridCol>
              </a:tblGrid>
              <a:tr h="0">
                <a:tc>
                  <a:txBody>
                    <a:bodyPr/>
                    <a:lstStyle/>
                    <a:p>
                      <a:r>
                        <a:rPr lang="de-DE" sz="1200" b="1" dirty="0">
                          <a:latin typeface="+mn-lt"/>
                        </a:rPr>
                        <a:t>Vertragszugehörigkeit</a:t>
                      </a: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b="1" dirty="0">
                          <a:latin typeface="+mn-lt"/>
                        </a:rPr>
                        <a:t>IBAN</a:t>
                      </a: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b="1">
                          <a:latin typeface="+mn-lt"/>
                        </a:rPr>
                        <a:t>BIC</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b="1" dirty="0">
                          <a:latin typeface="+mn-lt"/>
                        </a:rPr>
                        <a:t>Geldinstitut</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63024052"/>
                  </a:ext>
                </a:extLst>
              </a:tr>
              <a:tr h="0">
                <a:tc>
                  <a:txBody>
                    <a:bodyPr/>
                    <a:lstStyle/>
                    <a:p>
                      <a:r>
                        <a:rPr lang="de-DE" sz="1200" i="0" dirty="0" err="1">
                          <a:solidFill>
                            <a:schemeClr val="bg1"/>
                          </a:solidFill>
                          <a:latin typeface="+mn-lt"/>
                        </a:rPr>
                        <a:t>VersDB</a:t>
                      </a:r>
                      <a:r>
                        <a:rPr lang="de-DE" sz="1200" i="0" dirty="0">
                          <a:solidFill>
                            <a:schemeClr val="bg1"/>
                          </a:solidFill>
                          <a:latin typeface="+mn-lt"/>
                        </a:rPr>
                        <a:t>: </a:t>
                      </a:r>
                    </a:p>
                  </a:txBody>
                  <a:tcP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a:solidFill>
                            <a:schemeClr val="bg1"/>
                          </a:solidFill>
                          <a:latin typeface="+mn-lt"/>
                        </a:rPr>
                        <a:t>DE81600800000905226400</a:t>
                      </a: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a:solidFill>
                            <a:schemeClr val="bg1"/>
                          </a:solidFill>
                          <a:latin typeface="+mn-lt"/>
                        </a:rPr>
                        <a:t>DRESDEFFXXX</a:t>
                      </a:r>
                    </a:p>
                  </a:txBody>
                  <a:tcPr>
                    <a:lnL w="12700" cmpd="sng">
                      <a:solidFill>
                        <a:sysClr val="window" lastClr="FFFFFF"/>
                      </a:solidFill>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dirty="0">
                          <a:solidFill>
                            <a:schemeClr val="bg1"/>
                          </a:solidFill>
                          <a:latin typeface="+mn-lt"/>
                        </a:rPr>
                        <a:t>Commerzbank AG</a:t>
                      </a:r>
                    </a:p>
                  </a:txBody>
                  <a:tcPr>
                    <a:lnL w="12700" cmpd="sng">
                      <a:solidFill>
                        <a:sysClr val="window" lastClr="FFFFFF"/>
                      </a:solidFill>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extLst>
                  <a:ext uri="{0D108BD9-81ED-4DB2-BD59-A6C34878D82A}">
                    <a16:rowId xmlns:a16="http://schemas.microsoft.com/office/drawing/2014/main" val="1916880332"/>
                  </a:ext>
                </a:extLst>
              </a:tr>
              <a:tr h="0">
                <a:tc>
                  <a:txBody>
                    <a:bodyPr/>
                    <a:lstStyle/>
                    <a:p>
                      <a:r>
                        <a:rPr lang="de-DE" sz="1200" i="0" dirty="0">
                          <a:solidFill>
                            <a:schemeClr val="bg1"/>
                          </a:solidFill>
                          <a:latin typeface="+mn-lt"/>
                        </a:rPr>
                        <a:t>ABS: </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a:solidFill>
                            <a:schemeClr val="bg1"/>
                          </a:solidFill>
                          <a:latin typeface="+mn-lt"/>
                        </a:rPr>
                        <a:t>DE25600400710541051900</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a:solidFill>
                            <a:schemeClr val="bg1"/>
                          </a:solidFill>
                          <a:latin typeface="+mn-lt"/>
                        </a:rPr>
                        <a:t>COBADEFF600</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dirty="0">
                          <a:solidFill>
                            <a:schemeClr val="bg1"/>
                          </a:solidFill>
                          <a:latin typeface="+mn-lt"/>
                        </a:rPr>
                        <a:t>Commerzbank AG</a:t>
                      </a: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extLst>
                  <a:ext uri="{0D108BD9-81ED-4DB2-BD59-A6C34878D82A}">
                    <a16:rowId xmlns:a16="http://schemas.microsoft.com/office/drawing/2014/main" val="3977956313"/>
                  </a:ext>
                </a:extLst>
              </a:tr>
            </a:tbl>
          </a:graphicData>
        </a:graphic>
      </p:graphicFrame>
    </p:spTree>
    <p:extLst>
      <p:ext uri="{BB962C8B-B14F-4D97-AF65-F5344CB8AC3E}">
        <p14:creationId xmlns:p14="http://schemas.microsoft.com/office/powerpoint/2010/main" val="36401106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EFFF893A-2C8B-524C-B0F6-C4201F08DE9A}"/>
              </a:ext>
            </a:extLst>
          </p:cNvPr>
          <p:cNvSpPr/>
          <p:nvPr/>
        </p:nvSpPr>
        <p:spPr>
          <a:xfrm>
            <a:off x="474919" y="1985570"/>
            <a:ext cx="10361357" cy="4140000"/>
          </a:xfrm>
          <a:prstGeom prst="rect">
            <a:avLst/>
          </a:prstGeom>
          <a:solidFill>
            <a:srgbClr val="F1F4F6"/>
          </a:solidFill>
          <a:ln>
            <a:noFill/>
          </a:ln>
        </p:spPr>
        <p:txBody>
          <a:bodyPr rot="0" spcFirstLastPara="0" vertOverflow="overflow" horzOverflow="overflow" vert="horz" wrap="square" lIns="101988" tIns="101988" rIns="101988" bIns="101988" numCol="1" spcCol="0" rtlCol="0" fromWordArt="0" anchor="t" anchorCtr="0" forceAA="0" compatLnSpc="1">
            <a:prstTxWarp prst="textNoShape">
              <a:avLst/>
            </a:prstTxWarp>
            <a:noAutofit/>
          </a:bodyPr>
          <a:lstStyle/>
          <a:p>
            <a:pPr marL="0" marR="0" lvl="0" indent="0" algn="l" defTabSz="863742" rtl="0" eaLnBrk="1" fontAlgn="auto" latinLnBrk="0" hangingPunct="1">
              <a:lnSpc>
                <a:spcPct val="100000"/>
              </a:lnSpc>
              <a:spcBef>
                <a:spcPts val="94"/>
              </a:spcBef>
              <a:spcAft>
                <a:spcPts val="94"/>
              </a:spcAft>
              <a:buClrTx/>
              <a:buSzTx/>
              <a:buFontTx/>
              <a:buNone/>
              <a:tabLst/>
              <a:defRPr/>
            </a:pPr>
            <a:r>
              <a:rPr kumimoji="0" lang="de-DE" sz="1323" b="0" i="0" u="none" strike="noStrike" kern="1200" cap="none" spc="0" normalizeH="0" baseline="0" noProof="0">
                <a:ln>
                  <a:noFill/>
                </a:ln>
                <a:solidFill>
                  <a:srgbClr val="FFFFFF"/>
                </a:solidFill>
                <a:effectLst/>
                <a:uLnTx/>
                <a:uFillTx/>
                <a:latin typeface="Allianz Neo PPT"/>
                <a:ea typeface="+mn-ea"/>
                <a:cs typeface="+mn-cs"/>
              </a:rPr>
              <a:t> </a:t>
            </a:r>
          </a:p>
        </p:txBody>
      </p:sp>
      <p:sp>
        <p:nvSpPr>
          <p:cNvPr id="2" name="Title 1"/>
          <p:cNvSpPr>
            <a:spLocks noGrp="1"/>
          </p:cNvSpPr>
          <p:nvPr>
            <p:ph type="title"/>
          </p:nvPr>
        </p:nvSpPr>
        <p:spPr/>
        <p:txBody>
          <a:bodyPr/>
          <a:lstStyle/>
          <a:p>
            <a:r>
              <a:rPr lang="de-DE" sz="4800"/>
              <a:t>Kundenunterlagen </a:t>
            </a:r>
            <a:r>
              <a:rPr lang="de-DE" sz="4800">
                <a:solidFill>
                  <a:srgbClr val="13A0D3"/>
                </a:solidFill>
              </a:rPr>
              <a:t>Brief Neuabschluss</a:t>
            </a:r>
          </a:p>
        </p:txBody>
      </p:sp>
      <p:sp>
        <p:nvSpPr>
          <p:cNvPr id="4" name="Inhaltsplatzhalter 3"/>
          <p:cNvSpPr>
            <a:spLocks noGrp="1"/>
          </p:cNvSpPr>
          <p:nvPr>
            <p:ph sz="half" idx="1"/>
          </p:nvPr>
        </p:nvSpPr>
        <p:spPr>
          <a:xfrm>
            <a:off x="732324" y="2256231"/>
            <a:ext cx="2927080" cy="3324698"/>
          </a:xfrm>
        </p:spPr>
        <p:txBody>
          <a:bodyPr/>
          <a:lstStyle/>
          <a:p>
            <a:pPr lvl="1"/>
            <a:r>
              <a:rPr lang="de-DE" sz="1100" b="1" dirty="0">
                <a:latin typeface="+mj-lt"/>
              </a:rPr>
              <a:t>Ihre Kunden erhalten eine Briefansprache mit dem Fokus auf den Neuabschluss eines Altersvorsorge- oder Vermögensproduktes (Cross-Selling-Ansatz). </a:t>
            </a:r>
          </a:p>
          <a:p>
            <a:pPr lvl="1"/>
            <a:endParaRPr lang="de-DE" sz="1100" dirty="0">
              <a:latin typeface="+mj-lt"/>
            </a:endParaRPr>
          </a:p>
          <a:p>
            <a:pPr lvl="1"/>
            <a:r>
              <a:rPr lang="de-DE" sz="1100" dirty="0">
                <a:latin typeface="+mj-lt"/>
              </a:rPr>
              <a:t>Der Brief enthält </a:t>
            </a:r>
          </a:p>
          <a:p>
            <a:pPr marL="171450" lvl="1" indent="-171450">
              <a:buFont typeface="Arial" panose="020B0604020202020204" pitchFamily="34" charset="0"/>
              <a:buChar char="•"/>
            </a:pPr>
            <a:r>
              <a:rPr lang="de-DE" sz="1100" dirty="0">
                <a:latin typeface="+mj-lt"/>
              </a:rPr>
              <a:t>ein personalisiertes Anschreiben </a:t>
            </a:r>
          </a:p>
          <a:p>
            <a:pPr marL="171450" lvl="1" indent="-171450">
              <a:buFont typeface="Arial" panose="020B0604020202020204" pitchFamily="34" charset="0"/>
              <a:buChar char="•"/>
            </a:pPr>
            <a:r>
              <a:rPr lang="de-DE" sz="1100" dirty="0">
                <a:latin typeface="+mj-lt"/>
              </a:rPr>
              <a:t>einen Flyer mit Informationen zu den verschiedenen Anlagemöglichkeiten. </a:t>
            </a: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a:ln>
                  <a:noFill/>
                </a:ln>
                <a:solidFill>
                  <a:srgbClr val="003781"/>
                </a:solidFill>
                <a:effectLst/>
                <a:uLnTx/>
                <a:uFillTx/>
                <a:latin typeface="Allianz Neo PPT"/>
                <a:ea typeface="+mn-ea"/>
                <a:cs typeface="+mn-cs"/>
              </a:rPr>
              <a:t>© Allianz 2022</a:t>
            </a: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9707533" cy="252000"/>
          </a:xfrm>
        </p:spPr>
        <p:txBody>
          <a:bodyPr/>
          <a:lstStyle/>
          <a:p>
            <a:pPr defTabSz="864006">
              <a:defRPr/>
            </a:pPr>
            <a:r>
              <a:rPr lang="de-DE" dirty="0">
                <a:solidFill>
                  <a:srgbClr val="003781"/>
                </a:solidFill>
                <a:latin typeface="+mj-lt"/>
                <a:cs typeface="Arial" panose="020B0604020202020204" pitchFamily="34" charset="0"/>
              </a:rPr>
              <a:t>Briefaktion: Förderung und Zuzahlung Einmalbeitragsgeschäft 2024 (</a:t>
            </a:r>
            <a:r>
              <a:rPr lang="de-DE" dirty="0"/>
              <a:t>22783</a:t>
            </a:r>
            <a:r>
              <a:rPr lang="de-DE" dirty="0">
                <a:solidFill>
                  <a:srgbClr val="003781"/>
                </a:solidFill>
                <a:latin typeface="+mj-lt"/>
                <a:cs typeface="Arial" panose="020B0604020202020204" pitchFamily="34" charset="0"/>
              </a:rPr>
              <a:t>)</a:t>
            </a:r>
          </a:p>
        </p:txBody>
      </p:sp>
      <p:sp>
        <p:nvSpPr>
          <p:cNvPr id="9" name="Foliennummernplatzhalter 8"/>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8</a:t>
            </a:fld>
            <a:endParaRPr kumimoji="0" lang="en-GB"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6" name="Ellipse 5">
            <a:extLst>
              <a:ext uri="{FF2B5EF4-FFF2-40B4-BE49-F238E27FC236}">
                <a16:creationId xmlns:a16="http://schemas.microsoft.com/office/drawing/2014/main" id="{F6F092F5-C9E2-2B64-3929-D59BFA9DF371}"/>
              </a:ext>
            </a:extLst>
          </p:cNvPr>
          <p:cNvSpPr/>
          <p:nvPr/>
        </p:nvSpPr>
        <p:spPr>
          <a:xfrm rot="919371">
            <a:off x="9848672" y="1728536"/>
            <a:ext cx="1080000" cy="1080000"/>
          </a:xfrm>
          <a:prstGeom prst="ellipse">
            <a:avLst/>
          </a:prstGeom>
          <a:solidFill>
            <a:srgbClr val="FAB6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34017" rIns="0" bIns="34017" rtlCol="0" anchor="ctr"/>
          <a:lstStyle/>
          <a:p>
            <a:pPr algn="ctr" defTabSz="864006">
              <a:spcBef>
                <a:spcPts val="283"/>
              </a:spcBef>
              <a:spcAft>
                <a:spcPts val="378"/>
              </a:spcAft>
              <a:buSzPct val="100000"/>
              <a:defRPr/>
            </a:pPr>
            <a:r>
              <a:rPr lang="de-DE" altLang="de-DE" sz="900" b="1" dirty="0">
                <a:solidFill>
                  <a:srgbClr val="122B54"/>
                </a:solidFill>
                <a:latin typeface="+mj-lt"/>
                <a:cs typeface="Arial" panose="020B0604020202020204" pitchFamily="34" charset="0"/>
              </a:rPr>
              <a:t>Ansprache auf Kundenebene </a:t>
            </a:r>
            <a:r>
              <a:rPr lang="de-DE" altLang="de-DE" sz="900" dirty="0">
                <a:solidFill>
                  <a:srgbClr val="122B54"/>
                </a:solidFill>
                <a:latin typeface="+mj-lt"/>
                <a:cs typeface="Arial" panose="020B0604020202020204" pitchFamily="34" charset="0"/>
              </a:rPr>
              <a:t>– der Kunde erhält nur 1 Brief*</a:t>
            </a:r>
          </a:p>
        </p:txBody>
      </p:sp>
      <p:sp>
        <p:nvSpPr>
          <p:cNvPr id="3" name="Textfeld 2">
            <a:extLst>
              <a:ext uri="{FF2B5EF4-FFF2-40B4-BE49-F238E27FC236}">
                <a16:creationId xmlns:a16="http://schemas.microsoft.com/office/drawing/2014/main" id="{FDFF7DD3-45F7-CDC0-2F5F-E98672622694}"/>
              </a:ext>
            </a:extLst>
          </p:cNvPr>
          <p:cNvSpPr txBox="1"/>
          <p:nvPr/>
        </p:nvSpPr>
        <p:spPr>
          <a:xfrm>
            <a:off x="732324" y="6220741"/>
            <a:ext cx="9625165" cy="123111"/>
          </a:xfrm>
          <a:prstGeom prst="rect">
            <a:avLst/>
          </a:prstGeom>
        </p:spPr>
        <p:txBody>
          <a:bodyPr wrap="square" lIns="0" tIns="0" rIns="0" bIns="0" rtlCol="0">
            <a:spAutoFit/>
          </a:bodyPr>
          <a:lstStyle/>
          <a:p>
            <a:pPr algn="l">
              <a:spcAft>
                <a:spcPts val="600"/>
              </a:spcAft>
            </a:pPr>
            <a:r>
              <a:rPr lang="de-DE" sz="800" dirty="0">
                <a:solidFill>
                  <a:srgbClr val="003781"/>
                </a:solidFill>
              </a:rPr>
              <a:t>*Kunden, die mehr als einen Vertrag besitzen werden zu ihrem zuletzt abgeschlossenen Vertrag angeschrieben. </a:t>
            </a:r>
          </a:p>
        </p:txBody>
      </p:sp>
      <p:pic>
        <p:nvPicPr>
          <p:cNvPr id="7" name="Grafik 6">
            <a:extLst>
              <a:ext uri="{FF2B5EF4-FFF2-40B4-BE49-F238E27FC236}">
                <a16:creationId xmlns:a16="http://schemas.microsoft.com/office/drawing/2014/main" id="{8CFF13E4-664A-213F-0F91-B0A72EEE0C6D}"/>
              </a:ext>
            </a:extLst>
          </p:cNvPr>
          <p:cNvPicPr>
            <a:picLocks noChangeAspect="1"/>
          </p:cNvPicPr>
          <p:nvPr/>
        </p:nvPicPr>
        <p:blipFill>
          <a:blip r:embed="rId3"/>
          <a:stretch>
            <a:fillRect/>
          </a:stretch>
        </p:blipFill>
        <p:spPr>
          <a:xfrm>
            <a:off x="4230232" y="2268535"/>
            <a:ext cx="2573240" cy="3642525"/>
          </a:xfrm>
          <a:prstGeom prst="rect">
            <a:avLst/>
          </a:prstGeom>
          <a:ln>
            <a:noFill/>
          </a:ln>
          <a:effectLst>
            <a:outerShdw blurRad="292100" dist="139700" dir="2700000" algn="tl" rotWithShape="0">
              <a:srgbClr val="333333">
                <a:alpha val="65000"/>
              </a:srgbClr>
            </a:outerShdw>
          </a:effectLst>
        </p:spPr>
      </p:pic>
      <p:pic>
        <p:nvPicPr>
          <p:cNvPr id="19" name="Grafik 18">
            <a:extLst>
              <a:ext uri="{FF2B5EF4-FFF2-40B4-BE49-F238E27FC236}">
                <a16:creationId xmlns:a16="http://schemas.microsoft.com/office/drawing/2014/main" id="{E7C44917-94A4-2209-B6D2-7FFC4894B74B}"/>
              </a:ext>
            </a:extLst>
          </p:cNvPr>
          <p:cNvPicPr>
            <a:picLocks noChangeAspect="1"/>
          </p:cNvPicPr>
          <p:nvPr/>
        </p:nvPicPr>
        <p:blipFill>
          <a:blip r:embed="rId4"/>
          <a:stretch>
            <a:fillRect/>
          </a:stretch>
        </p:blipFill>
        <p:spPr>
          <a:xfrm>
            <a:off x="7719852" y="4005550"/>
            <a:ext cx="2700000" cy="1905510"/>
          </a:xfrm>
          <a:prstGeom prst="rect">
            <a:avLst/>
          </a:prstGeom>
          <a:ln>
            <a:noFill/>
          </a:ln>
          <a:effectLst>
            <a:outerShdw blurRad="292100" dist="139700" dir="2700000" algn="tl" rotWithShape="0">
              <a:srgbClr val="333333">
                <a:alpha val="65000"/>
              </a:srgbClr>
            </a:outerShdw>
          </a:effectLst>
        </p:spPr>
      </p:pic>
      <p:pic>
        <p:nvPicPr>
          <p:cNvPr id="8" name="Grafik 7">
            <a:extLst>
              <a:ext uri="{FF2B5EF4-FFF2-40B4-BE49-F238E27FC236}">
                <a16:creationId xmlns:a16="http://schemas.microsoft.com/office/drawing/2014/main" id="{C7DCC12D-5D3C-83BD-FA15-AE0AAA3043B1}"/>
              </a:ext>
            </a:extLst>
          </p:cNvPr>
          <p:cNvPicPr>
            <a:picLocks noChangeAspect="1"/>
          </p:cNvPicPr>
          <p:nvPr/>
        </p:nvPicPr>
        <p:blipFill>
          <a:blip r:embed="rId5"/>
          <a:stretch>
            <a:fillRect/>
          </a:stretch>
        </p:blipFill>
        <p:spPr>
          <a:xfrm>
            <a:off x="7063122" y="2268535"/>
            <a:ext cx="2700000" cy="191101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826481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liennummernplatzhalter 8"/>
          <p:cNvSpPr>
            <a:spLocks noGrp="1"/>
          </p:cNvSpPr>
          <p:nvPr>
            <p:ph type="sldNum" sz="quarter" idx="4294967295"/>
          </p:nvPr>
        </p:nvSpPr>
        <p:spPr>
          <a:xfrm>
            <a:off x="11050180" y="5652179"/>
            <a:ext cx="468137" cy="826776"/>
          </a:xfrm>
        </p:spPr>
        <p:txBody>
          <a:bodyPr/>
          <a:lstStyle/>
          <a:p>
            <a:pPr marL="0" marR="0" lvl="0" indent="0" algn="l" defTabSz="863742"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a:ln>
                  <a:noFill/>
                </a:ln>
                <a:solidFill>
                  <a:srgbClr val="003781"/>
                </a:solidFill>
                <a:effectLst/>
                <a:uLnTx/>
                <a:uFillTx/>
                <a:latin typeface="Allianz Neo PPT"/>
                <a:ea typeface="+mn-ea"/>
                <a:cs typeface="+mn-cs"/>
              </a:rPr>
              <a:pPr marL="0" marR="0" lvl="0" indent="0" algn="l" defTabSz="863742" rtl="0" eaLnBrk="1" fontAlgn="auto" latinLnBrk="0" hangingPunct="1">
                <a:lnSpc>
                  <a:spcPct val="100000"/>
                </a:lnSpc>
                <a:spcBef>
                  <a:spcPts val="0"/>
                </a:spcBef>
                <a:spcAft>
                  <a:spcPts val="0"/>
                </a:spcAft>
                <a:buClrTx/>
                <a:buSzTx/>
                <a:buFontTx/>
                <a:buNone/>
                <a:tabLst/>
                <a:defRPr/>
              </a:pPr>
              <a:t>9</a:t>
            </a:fld>
            <a:endParaRPr kumimoji="0" lang="en-GB"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36" name="Datumsplatzhalter 5">
            <a:extLst>
              <a:ext uri="{FF2B5EF4-FFF2-40B4-BE49-F238E27FC236}">
                <a16:creationId xmlns:a16="http://schemas.microsoft.com/office/drawing/2014/main" id="{196DF232-D1B7-44C1-94F0-3B425952DF1B}"/>
              </a:ext>
            </a:extLst>
          </p:cNvPr>
          <p:cNvSpPr txBox="1">
            <a:spLocks/>
          </p:cNvSpPr>
          <p:nvPr/>
        </p:nvSpPr>
        <p:spPr>
          <a:xfrm rot="-5400000">
            <a:off x="9592613" y="3726474"/>
            <a:ext cx="3383274" cy="468136"/>
          </a:xfrm>
          <a:prstGeom prst="rect">
            <a:avLst/>
          </a:prstGeom>
        </p:spPr>
        <p:txBody>
          <a:bodyPr vert="horz" lIns="0" tIns="35986"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marL="0" marR="0" lvl="0" indent="0" algn="l" defTabSz="863742"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2024</a:t>
            </a:r>
          </a:p>
        </p:txBody>
      </p:sp>
      <p:sp>
        <p:nvSpPr>
          <p:cNvPr id="37"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7" y="469045"/>
            <a:ext cx="8765971" cy="251905"/>
          </a:xfrm>
        </p:spPr>
        <p:txBody>
          <a:bodyPr/>
          <a:lstStyle/>
          <a:p>
            <a:pPr defTabSz="864006">
              <a:defRPr/>
            </a:pPr>
            <a:r>
              <a:rPr lang="de-DE" dirty="0">
                <a:solidFill>
                  <a:srgbClr val="003781"/>
                </a:solidFill>
                <a:latin typeface="+mj-lt"/>
                <a:cs typeface="Arial" panose="020B0604020202020204" pitchFamily="34" charset="0"/>
              </a:rPr>
              <a:t>Briefaktion: Förderung und Zuzahlung Einmalbeitragsgeschäft 2024 (</a:t>
            </a:r>
            <a:r>
              <a:rPr lang="de-DE" dirty="0"/>
              <a:t>22783</a:t>
            </a:r>
            <a:r>
              <a:rPr lang="de-DE" dirty="0">
                <a:solidFill>
                  <a:srgbClr val="003781"/>
                </a:solidFill>
                <a:latin typeface="+mj-lt"/>
                <a:cs typeface="Arial" panose="020B0604020202020204" pitchFamily="34" charset="0"/>
              </a:rPr>
              <a:t>)</a:t>
            </a:r>
          </a:p>
        </p:txBody>
      </p:sp>
      <p:sp>
        <p:nvSpPr>
          <p:cNvPr id="38" name="Textplatzhalter 2"/>
          <p:cNvSpPr txBox="1">
            <a:spLocks/>
          </p:cNvSpPr>
          <p:nvPr/>
        </p:nvSpPr>
        <p:spPr>
          <a:xfrm>
            <a:off x="483996" y="6087619"/>
            <a:ext cx="2349601" cy="92950"/>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8782"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899" b="0" i="0" u="none" strike="noStrike" kern="1200" cap="none" spc="0" normalizeH="0" baseline="0" noProof="0">
                <a:ln>
                  <a:noFill/>
                </a:ln>
                <a:solidFill>
                  <a:srgbClr val="003781"/>
                </a:solidFill>
                <a:effectLst/>
                <a:uLnTx/>
                <a:uFillTx/>
                <a:latin typeface="Allianz Neo PPT"/>
                <a:ea typeface="+mn-ea"/>
                <a:cs typeface="+mn-cs"/>
              </a:rPr>
              <a:t>Allianz Kunde und Markt - Multikanalmarketing</a:t>
            </a:r>
          </a:p>
        </p:txBody>
      </p:sp>
      <p:sp>
        <p:nvSpPr>
          <p:cNvPr id="31" name="Title 1"/>
          <p:cNvSpPr txBox="1">
            <a:spLocks/>
          </p:cNvSpPr>
          <p:nvPr/>
        </p:nvSpPr>
        <p:spPr>
          <a:xfrm>
            <a:off x="468315" y="1152524"/>
            <a:ext cx="10367962" cy="900114"/>
          </a:xfrm>
          <a:prstGeom prst="rect">
            <a:avLst/>
          </a:prstGeom>
        </p:spPr>
        <p:txBody>
          <a:bodyPr vert="horz" lIns="0" tIns="0" rIns="0" bIns="0" rtlCol="0" anchor="t" anchorCtr="0">
            <a:noAutofit/>
          </a:bodyPr>
          <a:lstStyle>
            <a:lvl1pPr algn="l" defTabSz="914109" rtl="0" eaLnBrk="1" latinLnBrk="0" hangingPunct="1">
              <a:lnSpc>
                <a:spcPct val="80000"/>
              </a:lnSpc>
              <a:spcBef>
                <a:spcPct val="0"/>
              </a:spcBef>
              <a:buNone/>
              <a:defRPr sz="4699"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109" rtl="0" eaLnBrk="1" fontAlgn="auto" latinLnBrk="0" hangingPunct="1">
              <a:lnSpc>
                <a:spcPct val="80000"/>
              </a:lnSpc>
              <a:spcBef>
                <a:spcPct val="0"/>
              </a:spcBef>
              <a:spcAft>
                <a:spcPts val="0"/>
              </a:spcAft>
              <a:buClrTx/>
              <a:buSzTx/>
              <a:buFontTx/>
              <a:buNone/>
              <a:tabLst/>
              <a:defRPr/>
            </a:pPr>
            <a:r>
              <a:rPr kumimoji="0" lang="de-DE" sz="4798" b="0" i="0" u="none" strike="noStrike" kern="1200" cap="none" spc="0" normalizeH="0" baseline="0" noProof="0" dirty="0">
                <a:ln>
                  <a:noFill/>
                </a:ln>
                <a:solidFill>
                  <a:srgbClr val="003781"/>
                </a:solidFill>
                <a:effectLst/>
                <a:uLnTx/>
                <a:uFillTx/>
                <a:latin typeface="Allianz Neo PPT"/>
                <a:ea typeface="+mj-ea"/>
                <a:cs typeface="+mj-cs"/>
              </a:rPr>
              <a:t>ACA: </a:t>
            </a:r>
            <a:r>
              <a:rPr kumimoji="0" lang="de-DE" sz="4800" b="0" i="0" u="none" strike="noStrike" kern="1200" cap="none" spc="0" normalizeH="0" baseline="0" noProof="0" dirty="0">
                <a:ln>
                  <a:noFill/>
                </a:ln>
                <a:solidFill>
                  <a:srgbClr val="13A0D3"/>
                </a:solidFill>
                <a:effectLst/>
                <a:uLnTx/>
                <a:uFillTx/>
                <a:latin typeface="Allianz Neo PPT"/>
                <a:ea typeface="+mj-ea"/>
                <a:cs typeface="+mj-cs"/>
              </a:rPr>
              <a:t>S</a:t>
            </a:r>
            <a:r>
              <a:rPr lang="de-DE" sz="4800" dirty="0" err="1">
                <a:solidFill>
                  <a:srgbClr val="13A0D3"/>
                </a:solidFill>
              </a:rPr>
              <a:t>ortier</a:t>
            </a:r>
            <a:r>
              <a:rPr lang="de-DE" sz="4800" dirty="0">
                <a:solidFill>
                  <a:srgbClr val="13A0D3"/>
                </a:solidFill>
              </a:rPr>
              <a:t>- und Filterfelder</a:t>
            </a:r>
          </a:p>
        </p:txBody>
      </p:sp>
      <p:sp>
        <p:nvSpPr>
          <p:cNvPr id="25" name="Textfeld 39">
            <a:extLst>
              <a:ext uri="{FF2B5EF4-FFF2-40B4-BE49-F238E27FC236}">
                <a16:creationId xmlns:a16="http://schemas.microsoft.com/office/drawing/2014/main" id="{A6093A5F-8322-E41D-8ABE-32CA0FEC5A7A}"/>
              </a:ext>
            </a:extLst>
          </p:cNvPr>
          <p:cNvSpPr txBox="1">
            <a:spLocks noChangeArrowheads="1"/>
          </p:cNvSpPr>
          <p:nvPr/>
        </p:nvSpPr>
        <p:spPr bwMode="auto">
          <a:xfrm>
            <a:off x="5234021" y="1973737"/>
            <a:ext cx="6004689" cy="246221"/>
          </a:xfrm>
          <a:prstGeom prst="rect">
            <a:avLst/>
          </a:prstGeom>
          <a:solidFill>
            <a:schemeClr val="accent6">
              <a:lumMod val="90000"/>
            </a:schemeClr>
          </a:solidFill>
          <a:ln w="9525">
            <a:noFill/>
            <a:miter lim="800000"/>
            <a:headEnd/>
            <a:tailEnd/>
          </a:ln>
        </p:spPr>
        <p:txBody>
          <a:bodyPr wrap="square">
            <a:spAutoFit/>
          </a:bodyPr>
          <a:lstStyle>
            <a:defPPr>
              <a:defRPr lang="de-DE"/>
            </a:defPPr>
            <a:lvl1pPr>
              <a:defRPr sz="1000" b="1">
                <a:solidFill>
                  <a:schemeClr val="bg1"/>
                </a:solidFill>
                <a:latin typeface="Arial" charset="0"/>
              </a:defRPr>
            </a:lvl1pPr>
            <a:lvl2pPr marL="742950" indent="-285750" eaLnBrk="0" hangingPunct="0">
              <a:defRPr>
                <a:latin typeface="Arial" charset="0"/>
              </a:defRPr>
            </a:lvl2pPr>
            <a:lvl3pPr marL="1143000" indent="-228600" eaLnBrk="0" hangingPunct="0">
              <a:buChar char="§"/>
              <a:defRPr>
                <a:latin typeface="Arial" charset="0"/>
              </a:defRPr>
            </a:lvl3pPr>
            <a:lvl4pPr marL="1600200" indent="-228600" eaLnBrk="0" hangingPunct="0">
              <a:buChar char="-"/>
              <a:defRPr>
                <a:latin typeface="Arial" charset="0"/>
              </a:defRPr>
            </a:lvl4pPr>
            <a:lvl5pPr marL="2057400" indent="-228600" eaLnBrk="0" hangingPunct="0">
              <a:buChar char="-"/>
              <a:defRPr>
                <a:latin typeface="Arial" charset="0"/>
              </a:defRPr>
            </a:lvl5pPr>
            <a:lvl6pPr marL="2514600" indent="-228600" eaLnBrk="0" fontAlgn="base" hangingPunct="0">
              <a:spcBef>
                <a:spcPct val="0"/>
              </a:spcBef>
              <a:spcAft>
                <a:spcPct val="30000"/>
              </a:spcAft>
              <a:buClr>
                <a:schemeClr val="accent1"/>
              </a:buClr>
              <a:buChar char="-"/>
              <a:defRPr>
                <a:latin typeface="Arial" charset="0"/>
              </a:defRPr>
            </a:lvl6pPr>
            <a:lvl7pPr marL="2971800" indent="-228600" eaLnBrk="0" fontAlgn="base" hangingPunct="0">
              <a:spcBef>
                <a:spcPct val="0"/>
              </a:spcBef>
              <a:spcAft>
                <a:spcPct val="30000"/>
              </a:spcAft>
              <a:buClr>
                <a:schemeClr val="accent1"/>
              </a:buClr>
              <a:buChar char="-"/>
              <a:defRPr>
                <a:latin typeface="Arial" charset="0"/>
              </a:defRPr>
            </a:lvl7pPr>
            <a:lvl8pPr marL="3429000" indent="-228600" eaLnBrk="0" fontAlgn="base" hangingPunct="0">
              <a:spcBef>
                <a:spcPct val="0"/>
              </a:spcBef>
              <a:spcAft>
                <a:spcPct val="30000"/>
              </a:spcAft>
              <a:buClr>
                <a:schemeClr val="accent1"/>
              </a:buClr>
              <a:buChar char="-"/>
              <a:defRPr>
                <a:latin typeface="Arial" charset="0"/>
              </a:defRPr>
            </a:lvl8pPr>
            <a:lvl9pPr marL="3886200" indent="-228600" eaLnBrk="0" fontAlgn="base" hangingPunct="0">
              <a:spcBef>
                <a:spcPct val="0"/>
              </a:spcBef>
              <a:spcAft>
                <a:spcPct val="30000"/>
              </a:spcAft>
              <a:buClr>
                <a:schemeClr val="accent1"/>
              </a:buClr>
              <a:buChar char="-"/>
              <a:defRPr>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Erläuterungen: Filterfelder</a:t>
            </a:r>
          </a:p>
        </p:txBody>
      </p:sp>
      <p:sp>
        <p:nvSpPr>
          <p:cNvPr id="27" name="Inhaltsplatzhalter 1">
            <a:extLst>
              <a:ext uri="{FF2B5EF4-FFF2-40B4-BE49-F238E27FC236}">
                <a16:creationId xmlns:a16="http://schemas.microsoft.com/office/drawing/2014/main" id="{DC91DD12-7973-E8F5-6A9A-581EDDBD3A65}"/>
              </a:ext>
            </a:extLst>
          </p:cNvPr>
          <p:cNvSpPr txBox="1">
            <a:spLocks/>
          </p:cNvSpPr>
          <p:nvPr/>
        </p:nvSpPr>
        <p:spPr>
          <a:xfrm>
            <a:off x="5535465" y="2335129"/>
            <a:ext cx="5514714" cy="3535023"/>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kumimoji="0" lang="de-DE" altLang="de-DE" sz="900" b="1" i="0" u="none" strike="noStrike" kern="1200" cap="none" spc="0" normalizeH="0" baseline="0" noProof="0" dirty="0">
                <a:ln>
                  <a:noFill/>
                </a:ln>
                <a:solidFill>
                  <a:srgbClr val="13A0D3"/>
                </a:solidFill>
                <a:effectLst/>
                <a:uLnTx/>
                <a:uFillTx/>
                <a:latin typeface="Allianz Neo" panose="020B0504020203020204" pitchFamily="34" charset="0"/>
                <a:ea typeface="+mn-ea"/>
                <a:cs typeface="+mn-cs"/>
              </a:rPr>
              <a:t>Filterfeld 1: </a:t>
            </a:r>
            <a:r>
              <a:rPr kumimoji="0" lang="de-DE" altLang="de-DE" sz="900" b="1" i="0" u="sng" strike="noStrike" kern="1200" cap="none" spc="0" normalizeH="0" baseline="0" noProof="0" dirty="0">
                <a:ln>
                  <a:noFill/>
                </a:ln>
                <a:solidFill>
                  <a:srgbClr val="003781"/>
                </a:solidFill>
                <a:effectLst/>
                <a:uLnTx/>
                <a:uFillTx/>
                <a:latin typeface="Allianz Neo" panose="020B0504020203020204" pitchFamily="34" charset="0"/>
                <a:ea typeface="+mn-ea"/>
                <a:cs typeface="+mn-cs"/>
              </a:rPr>
              <a:t>EB Produkt</a:t>
            </a:r>
          </a:p>
          <a:p>
            <a:pPr marL="171450" lvl="0" indent="-171450">
              <a:buFont typeface="Arial" panose="020B0604020202020204" pitchFamily="34" charset="0"/>
              <a:buChar char="•"/>
            </a:pPr>
            <a:r>
              <a:rPr lang="de-DE" altLang="de-DE" sz="900" b="1" dirty="0">
                <a:solidFill>
                  <a:srgbClr val="003781"/>
                </a:solidFill>
                <a:latin typeface="Allianz Neo" panose="020B0504020203020204" pitchFamily="34" charset="0"/>
              </a:rPr>
              <a:t>Name und Vorsorgekonzept des Produktes. </a:t>
            </a:r>
            <a:r>
              <a:rPr lang="de-DE" altLang="de-DE" sz="900" dirty="0">
                <a:solidFill>
                  <a:srgbClr val="003781"/>
                </a:solidFill>
                <a:latin typeface="Allianz Neo" panose="020B0504020203020204" pitchFamily="34" charset="0"/>
              </a:rPr>
              <a:t>Diese werden als Abkürzungen angezeigt. Das Abkürzungsverzeichnis finden Sie auf Folie 11.</a:t>
            </a:r>
            <a:br>
              <a:rPr lang="de-DE" altLang="de-DE" sz="900" dirty="0">
                <a:solidFill>
                  <a:srgbClr val="003781"/>
                </a:solidFill>
                <a:latin typeface="Allianz Neo" panose="020B0504020203020204" pitchFamily="34" charset="0"/>
              </a:rPr>
            </a:br>
            <a:endParaRPr lang="de-DE" altLang="de-DE" sz="900" dirty="0">
              <a:solidFill>
                <a:srgbClr val="003781"/>
              </a:solidFill>
              <a:latin typeface="Allianz Neo" panose="020B0504020203020204" pitchFamily="34" charset="0"/>
            </a:endParaRPr>
          </a:p>
          <a:p>
            <a:pPr lvl="0" defTabSz="864017">
              <a:spcBef>
                <a:spcPts val="200"/>
              </a:spcBef>
              <a:defRPr/>
            </a:pPr>
            <a:r>
              <a:rPr kumimoji="0" lang="de-DE" altLang="de-DE" sz="900" b="1" i="0" u="none" strike="noStrike" kern="1200" cap="none" spc="0" normalizeH="0" baseline="0" noProof="0" dirty="0">
                <a:ln>
                  <a:noFill/>
                </a:ln>
                <a:solidFill>
                  <a:srgbClr val="13A0D3"/>
                </a:solidFill>
                <a:effectLst/>
                <a:uLnTx/>
                <a:uFillTx/>
                <a:latin typeface="Allianz Neo" panose="020B0504020203020204" pitchFamily="34" charset="0"/>
                <a:ea typeface="+mn-ea"/>
                <a:cs typeface="+mn-cs"/>
              </a:rPr>
              <a:t>Filterfeld 2: </a:t>
            </a:r>
            <a:r>
              <a:rPr kumimoji="0" lang="de-DE" altLang="de-DE" sz="900" b="1" i="0" u="sng" strike="noStrike" kern="1200" cap="none" spc="0" normalizeH="0" baseline="0" noProof="0" dirty="0">
                <a:ln>
                  <a:noFill/>
                </a:ln>
                <a:solidFill>
                  <a:srgbClr val="003781"/>
                </a:solidFill>
                <a:effectLst/>
                <a:uLnTx/>
                <a:uFillTx/>
                <a:latin typeface="Allianz Neo" panose="020B0504020203020204" pitchFamily="34" charset="0"/>
                <a:ea typeface="+mn-ea"/>
                <a:cs typeface="+mn-cs"/>
              </a:rPr>
              <a:t>Kunden-Ansprache</a:t>
            </a:r>
            <a:endParaRPr lang="de-DE" altLang="de-DE" sz="900" dirty="0">
              <a:solidFill>
                <a:srgbClr val="003781"/>
              </a:solidFill>
              <a:latin typeface="Allianz Neo" panose="020B0504020203020204" pitchFamily="34" charset="0"/>
            </a:endParaRPr>
          </a:p>
          <a:p>
            <a:pPr marL="171450" lvl="0" indent="-171450" defTabSz="864017">
              <a:spcBef>
                <a:spcPts val="200"/>
              </a:spcBef>
              <a:buFont typeface="Arial" panose="020B0604020202020204" pitchFamily="34" charset="0"/>
              <a:buChar char="•"/>
              <a:defRPr/>
            </a:pPr>
            <a:r>
              <a:rPr lang="de-DE" altLang="de-DE" sz="900" b="1" dirty="0">
                <a:solidFill>
                  <a:srgbClr val="003781"/>
                </a:solidFill>
                <a:latin typeface="Allianz Neo" panose="020B0504020203020204" pitchFamily="34" charset="0"/>
              </a:rPr>
              <a:t>Brief Zuzahlung / Brief Neuabschluss/ Keine Ansprache</a:t>
            </a:r>
            <a:br>
              <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br>
            <a:r>
              <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                     </a:t>
            </a:r>
            <a:endParaRPr kumimoji="0" lang="de-DE" altLang="de-DE" sz="900" b="1" i="0" u="none" strike="noStrike" kern="1200" cap="none" spc="0" normalizeH="0" baseline="0" noProof="0" dirty="0">
              <a:ln>
                <a:noFill/>
              </a:ln>
              <a:solidFill>
                <a:srgbClr val="FF0000"/>
              </a:solidFill>
              <a:effectLst/>
              <a:uLnTx/>
              <a:uFillTx/>
              <a:latin typeface="Allianz Neo" panose="020B05040202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1" i="0" u="none" strike="noStrike" kern="1200" cap="none" spc="0" normalizeH="0" baseline="0" noProof="0" dirty="0">
                <a:ln>
                  <a:noFill/>
                </a:ln>
                <a:solidFill>
                  <a:srgbClr val="13A0D3"/>
                </a:solidFill>
                <a:effectLst/>
                <a:uLnTx/>
                <a:uFillTx/>
                <a:latin typeface="Allianz Neo" panose="020B0504020203020204" pitchFamily="34" charset="0"/>
                <a:ea typeface="+mn-ea"/>
                <a:cs typeface="+mn-cs"/>
              </a:rPr>
              <a:t>Filterfeld 3: </a:t>
            </a:r>
            <a:r>
              <a:rPr kumimoji="0" lang="de-DE" altLang="de-DE" sz="900" b="1" i="0" u="sng" strike="noStrike" kern="1200" cap="none" spc="0" normalizeH="0" baseline="0" noProof="0" dirty="0">
                <a:ln>
                  <a:noFill/>
                </a:ln>
                <a:solidFill>
                  <a:srgbClr val="003781"/>
                </a:solidFill>
                <a:effectLst/>
                <a:uLnTx/>
                <a:uFillTx/>
                <a:latin typeface="Allianz Neo" panose="020B0504020203020204" pitchFamily="34" charset="0"/>
                <a:ea typeface="+mn-ea"/>
                <a:cs typeface="+mn-cs"/>
              </a:rPr>
              <a:t>Novationsgefährd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altLang="de-DE" sz="9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Ja / Nein /</a:t>
            </a:r>
            <a:r>
              <a:rPr kumimoji="0" lang="de-DE" altLang="de-DE" sz="900" b="1" i="0" u="none" strike="noStrike" kern="1200" cap="none" spc="0" normalizeH="0" noProof="0" dirty="0">
                <a:ln>
                  <a:noFill/>
                </a:ln>
                <a:solidFill>
                  <a:srgbClr val="003781"/>
                </a:solidFill>
                <a:effectLst/>
                <a:uLnTx/>
                <a:uFillTx/>
                <a:latin typeface="Allianz Neo" panose="020B0504020203020204" pitchFamily="34" charset="0"/>
                <a:ea typeface="+mn-ea"/>
                <a:cs typeface="+mn-cs"/>
              </a:rPr>
              <a:t> Bitte prüfen</a:t>
            </a:r>
          </a:p>
          <a:p>
            <a:pPr>
              <a:defRPr/>
            </a:pPr>
            <a:r>
              <a:rPr kumimoji="0" lang="de-DE" sz="900" i="0" u="none" strike="noStrike" kern="0" cap="none" spc="0" normalizeH="0" baseline="0" noProof="0" dirty="0">
                <a:ln>
                  <a:noFill/>
                </a:ln>
                <a:solidFill>
                  <a:srgbClr val="003781"/>
                </a:solidFill>
                <a:effectLst/>
                <a:uLnTx/>
                <a:uFillTx/>
                <a:latin typeface="Allianz Neo PPT"/>
                <a:ea typeface="+mn-ea"/>
                <a:cs typeface="+mn-cs"/>
              </a:rPr>
              <a:t>Verträge </a:t>
            </a:r>
            <a:r>
              <a:rPr kumimoji="0" lang="de-DE" sz="900" i="0" u="none" strike="noStrike" kern="0" cap="none" spc="0" normalizeH="0" baseline="0" noProof="0" dirty="0" err="1">
                <a:ln>
                  <a:noFill/>
                </a:ln>
                <a:solidFill>
                  <a:srgbClr val="003781"/>
                </a:solidFill>
                <a:effectLst/>
                <a:uLnTx/>
                <a:uFillTx/>
                <a:latin typeface="Allianz Neo PPT"/>
                <a:ea typeface="+mn-ea"/>
                <a:cs typeface="+mn-cs"/>
              </a:rPr>
              <a:t>SchatzBriefe</a:t>
            </a:r>
            <a:r>
              <a:rPr kumimoji="0" lang="de-DE" sz="900" i="0" u="none" strike="noStrike" kern="0" cap="none" spc="0" normalizeH="0" baseline="0" noProof="0" dirty="0">
                <a:ln>
                  <a:noFill/>
                </a:ln>
                <a:solidFill>
                  <a:srgbClr val="003781"/>
                </a:solidFill>
                <a:effectLst/>
                <a:uLnTx/>
                <a:uFillTx/>
                <a:latin typeface="Allianz Neo PPT"/>
                <a:ea typeface="+mn-ea"/>
                <a:cs typeface="+mn-cs"/>
              </a:rPr>
              <a:t> und </a:t>
            </a:r>
            <a:r>
              <a:rPr kumimoji="0" lang="de-DE" sz="900" i="0" u="none" strike="noStrike" kern="0" cap="none" spc="0" normalizeH="0" baseline="0" noProof="0" dirty="0" err="1">
                <a:ln>
                  <a:noFill/>
                </a:ln>
                <a:solidFill>
                  <a:srgbClr val="003781"/>
                </a:solidFill>
                <a:effectLst/>
                <a:uLnTx/>
                <a:uFillTx/>
                <a:latin typeface="Allianz Neo PPT"/>
                <a:ea typeface="+mn-ea"/>
                <a:cs typeface="+mn-cs"/>
              </a:rPr>
              <a:t>PrivatRenten</a:t>
            </a:r>
            <a:r>
              <a:rPr kumimoji="0" lang="de-DE" sz="900" i="0" u="none" strike="noStrike" kern="0" cap="none" spc="0" normalizeH="0" baseline="0" noProof="0" dirty="0">
                <a:ln>
                  <a:noFill/>
                </a:ln>
                <a:solidFill>
                  <a:srgbClr val="003781"/>
                </a:solidFill>
                <a:effectLst/>
                <a:uLnTx/>
                <a:uFillTx/>
                <a:latin typeface="Allianz Neo PPT"/>
                <a:ea typeface="+mn-ea"/>
                <a:cs typeface="+mn-cs"/>
              </a:rPr>
              <a:t> werden in der Aktion als novationsgefährdet gekennzeichnet, sofern die Differenz aus abgeschlossenem Einmalbetrag und </a:t>
            </a:r>
            <a:r>
              <a:rPr lang="de-DE" sz="900" kern="0" dirty="0">
                <a:solidFill>
                  <a:srgbClr val="003781"/>
                </a:solidFill>
                <a:latin typeface="Allianz Neo PPT"/>
              </a:rPr>
              <a:t>der </a:t>
            </a:r>
            <a:r>
              <a:rPr kumimoji="0" lang="de-DE" sz="900" i="0" u="none" strike="noStrike" kern="0" cap="none" spc="0" normalizeH="0" baseline="0" noProof="0" dirty="0">
                <a:ln>
                  <a:noFill/>
                </a:ln>
                <a:solidFill>
                  <a:srgbClr val="003781"/>
                </a:solidFill>
                <a:effectLst/>
                <a:uLnTx/>
                <a:uFillTx/>
                <a:latin typeface="Allianz Neo PPT"/>
                <a:ea typeface="+mn-ea"/>
                <a:cs typeface="+mn-cs"/>
              </a:rPr>
              <a:t>Summe der gesamten Zuzahlungen &lt;5.000€ beträgt. Ausnahme: Verträge mit </a:t>
            </a:r>
            <a:r>
              <a:rPr kumimoji="0" lang="de-DE" sz="900" i="0" u="none" strike="noStrike" kern="0" cap="none" spc="0" normalizeH="0" baseline="0" noProof="0" dirty="0" err="1">
                <a:ln>
                  <a:noFill/>
                </a:ln>
                <a:solidFill>
                  <a:srgbClr val="003781"/>
                </a:solidFill>
                <a:effectLst/>
                <a:uLnTx/>
                <a:uFillTx/>
                <a:latin typeface="Allianz Neo PPT"/>
                <a:ea typeface="+mn-ea"/>
                <a:cs typeface="+mn-cs"/>
              </a:rPr>
              <a:t>Vertragsbegin</a:t>
            </a:r>
            <a:r>
              <a:rPr lang="de-DE" sz="900" kern="0" dirty="0">
                <a:solidFill>
                  <a:srgbClr val="003781"/>
                </a:solidFill>
                <a:latin typeface="Allianz Neo PPT"/>
              </a:rPr>
              <a:t>n vor 2005 tragen alle die Kennung „Ja“. </a:t>
            </a:r>
            <a:r>
              <a:rPr kumimoji="0" lang="de-DE" sz="900" i="0" u="none" strike="noStrike" kern="0" cap="none" spc="0" normalizeH="0" baseline="0" noProof="0" dirty="0">
                <a:ln>
                  <a:noFill/>
                </a:ln>
                <a:solidFill>
                  <a:srgbClr val="003781"/>
                </a:solidFill>
                <a:effectLst/>
                <a:uLnTx/>
                <a:uFillTx/>
                <a:latin typeface="Allianz Neo PPT"/>
                <a:ea typeface="+mn-ea"/>
                <a:cs typeface="+mn-cs"/>
              </a:rPr>
              <a:t>In Verträge APD(W) und PFP tragen die </a:t>
            </a:r>
            <a:r>
              <a:rPr lang="de-DE" sz="900" kern="0" dirty="0">
                <a:solidFill>
                  <a:srgbClr val="003781"/>
                </a:solidFill>
                <a:latin typeface="Allianz Neo PPT"/>
              </a:rPr>
              <a:t>Kennung „Nein“. </a:t>
            </a:r>
            <a:r>
              <a:rPr kumimoji="0" lang="de-DE" sz="900" i="0" u="none" strike="noStrike" kern="0" cap="none" spc="0" normalizeH="0" baseline="0" noProof="0" dirty="0">
                <a:ln>
                  <a:noFill/>
                </a:ln>
                <a:solidFill>
                  <a:srgbClr val="003781"/>
                </a:solidFill>
                <a:effectLst/>
                <a:uLnTx/>
                <a:uFillTx/>
                <a:latin typeface="Allianz Neo PPT"/>
                <a:ea typeface="+mn-ea"/>
                <a:cs typeface="+mn-cs"/>
              </a:rPr>
              <a:t>Zuzahlungen zur Vermögenspolice bitten wie Sie selbst zu prüfen.</a:t>
            </a:r>
          </a:p>
          <a:p>
            <a:pPr>
              <a:defRPr/>
            </a:pPr>
            <a:endParaRPr lang="de-DE" sz="900" kern="0" dirty="0">
              <a:solidFill>
                <a:srgbClr val="003781"/>
              </a:solidFill>
              <a:latin typeface="Allianz Neo PPT"/>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1" i="0" u="none" strike="noStrike" kern="1200" cap="none" spc="0" normalizeH="0" baseline="0" noProof="0" dirty="0">
                <a:ln>
                  <a:noFill/>
                </a:ln>
                <a:solidFill>
                  <a:srgbClr val="13A0D3"/>
                </a:solidFill>
                <a:effectLst/>
                <a:uLnTx/>
                <a:uFillTx/>
                <a:latin typeface="Allianz Neo" panose="020B0504020203020204" pitchFamily="34" charset="0"/>
                <a:ea typeface="+mn-ea"/>
                <a:cs typeface="+mn-cs"/>
              </a:rPr>
              <a:t>Filterfeld 4: </a:t>
            </a:r>
            <a:r>
              <a:rPr kumimoji="0" lang="de-DE" altLang="de-DE" sz="900" b="1" i="0" u="sng" strike="noStrike" kern="1200" cap="none" spc="0" normalizeH="0" baseline="0" noProof="0" dirty="0">
                <a:ln>
                  <a:noFill/>
                </a:ln>
                <a:solidFill>
                  <a:srgbClr val="003781"/>
                </a:solidFill>
                <a:effectLst/>
                <a:uLnTx/>
                <a:uFillTx/>
                <a:latin typeface="Allianz Neo" panose="020B0504020203020204" pitchFamily="34" charset="0"/>
                <a:ea typeface="+mn-ea"/>
                <a:cs typeface="+mn-cs"/>
              </a:rPr>
              <a:t>Ablaufdat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altLang="de-DE" sz="900" b="1" dirty="0" err="1">
                <a:solidFill>
                  <a:srgbClr val="003781"/>
                </a:solidFill>
                <a:latin typeface="Allianz Neo" panose="020B0504020203020204" pitchFamily="34" charset="0"/>
              </a:rPr>
              <a:t>Xxxx</a:t>
            </a:r>
            <a:r>
              <a:rPr lang="de-DE" altLang="de-DE" sz="900" b="1" dirty="0">
                <a:solidFill>
                  <a:srgbClr val="003781"/>
                </a:solidFill>
                <a:latin typeface="Allianz Neo" panose="020B0504020203020204" pitchFamily="34" charset="0"/>
              </a:rPr>
              <a:t>/QX: </a:t>
            </a:r>
            <a:r>
              <a:rPr lang="de-DE" altLang="de-DE" sz="900" dirty="0">
                <a:solidFill>
                  <a:srgbClr val="003781"/>
                </a:solidFill>
                <a:latin typeface="Allianz Neo" panose="020B0504020203020204" pitchFamily="34" charset="0"/>
              </a:rPr>
              <a:t>Ablaufjahr</a:t>
            </a:r>
            <a:r>
              <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 mit zugehörigem Quart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altLang="de-DE" sz="900" dirty="0">
              <a:solidFill>
                <a:srgbClr val="003781"/>
              </a:solidFill>
              <a:latin typeface="Allianz Neo" panose="020B0504020203020204" pitchFamily="34" charset="0"/>
            </a:endParaRPr>
          </a:p>
          <a:p>
            <a:pPr marL="0" marR="0" lvl="0" indent="0" algn="l" defTabSz="864017" rtl="0" eaLnBrk="1" fontAlgn="auto" latinLnBrk="0" hangingPunct="1">
              <a:lnSpc>
                <a:spcPct val="100000"/>
              </a:lnSpc>
              <a:spcBef>
                <a:spcPts val="0"/>
              </a:spcBef>
              <a:spcAft>
                <a:spcPts val="0"/>
              </a:spcAft>
              <a:buClrTx/>
              <a:buSzTx/>
              <a:buFontTx/>
              <a:buNone/>
              <a:tabLst/>
              <a:defRPr/>
            </a:pPr>
            <a:r>
              <a:rPr lang="de-DE" altLang="de-DE" sz="900" b="1" dirty="0">
                <a:solidFill>
                  <a:srgbClr val="13A0D3"/>
                </a:solidFill>
                <a:latin typeface="Allianz Neo" panose="020B0504020203020204" pitchFamily="34" charset="0"/>
              </a:rPr>
              <a:t>Filterfeld 5:</a:t>
            </a:r>
            <a:r>
              <a:rPr lang="de-DE" altLang="de-DE" sz="900" b="1" dirty="0">
                <a:solidFill>
                  <a:srgbClr val="003781"/>
                </a:solidFill>
                <a:latin typeface="Allianz Neo" panose="020B0504020203020204" pitchFamily="34" charset="0"/>
              </a:rPr>
              <a:t> </a:t>
            </a:r>
            <a:r>
              <a:rPr lang="de-DE" altLang="de-DE" sz="900" b="1" u="sng" dirty="0">
                <a:solidFill>
                  <a:srgbClr val="003781"/>
                </a:solidFill>
                <a:latin typeface="Allianz Neo" panose="020B0504020203020204" pitchFamily="34" charset="0"/>
              </a:rPr>
              <a:t>Zuzahlung Vers. Jahr 23/24</a:t>
            </a:r>
            <a:r>
              <a:rPr kumimoji="0" lang="de-DE" altLang="de-DE" sz="900" b="1" i="0" u="sng" strike="noStrike" kern="1200" cap="none" spc="0" normalizeH="0" baseline="0" noProof="0" dirty="0">
                <a:ln>
                  <a:noFill/>
                </a:ln>
                <a:solidFill>
                  <a:srgbClr val="FFFFFF"/>
                </a:solidFill>
                <a:effectLst/>
                <a:uLnTx/>
                <a:uFillTx/>
                <a:latin typeface="Allianz Neo" panose="020B0504020203020204" pitchFamily="34" charset="0"/>
                <a:ea typeface="+mn-ea"/>
                <a:cs typeface="+mn-cs"/>
              </a:rPr>
              <a:t>j</a:t>
            </a:r>
          </a:p>
          <a:p>
            <a:pPr marL="171450" marR="0" lvl="0" indent="-171450" algn="l" defTabSz="8640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altLang="de-DE" sz="900" b="1" i="0" u="none" strike="noStrike" kern="1200" cap="none" spc="0" normalizeH="0" noProof="0" dirty="0">
                <a:ln>
                  <a:noFill/>
                </a:ln>
                <a:solidFill>
                  <a:srgbClr val="003781"/>
                </a:solidFill>
                <a:effectLst/>
                <a:uLnTx/>
                <a:uFillTx/>
                <a:latin typeface="Allianz Neo" panose="020B0504020203020204" pitchFamily="34" charset="0"/>
                <a:ea typeface="+mn-ea"/>
                <a:cs typeface="+mn-cs"/>
              </a:rPr>
              <a:t>Ja / Nein / Bitte prüfen </a:t>
            </a:r>
            <a:r>
              <a:rPr lang="de-DE" altLang="de-DE" sz="900" dirty="0">
                <a:solidFill>
                  <a:srgbClr val="003781"/>
                </a:solidFill>
                <a:latin typeface="Allianz Neo" panose="020B0504020203020204" pitchFamily="34" charset="0"/>
              </a:rPr>
              <a:t>(Datenstand: 31.03.24 ABS-Verträge / 17.04.24 Klassik-Verträge)</a:t>
            </a: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p>
            <a:pPr lvl="0"/>
            <a:r>
              <a:rPr kumimoji="0" lang="de-DE" altLang="de-DE" sz="900" b="1" i="0" u="none" strike="noStrike" kern="1200" cap="none" spc="0" normalizeH="0" baseline="0" noProof="0" dirty="0">
                <a:ln>
                  <a:noFill/>
                </a:ln>
                <a:solidFill>
                  <a:srgbClr val="13A0D3"/>
                </a:solidFill>
                <a:effectLst/>
                <a:uLnTx/>
                <a:uFillTx/>
                <a:latin typeface="Allianz Neo" panose="020B0504020203020204" pitchFamily="34" charset="0"/>
                <a:ea typeface="+mn-ea"/>
                <a:cs typeface="+mn-cs"/>
              </a:rPr>
              <a:t>Filterfeld 6: </a:t>
            </a:r>
            <a:r>
              <a:rPr lang="de-DE" altLang="de-DE" sz="900" b="1" u="sng" dirty="0">
                <a:solidFill>
                  <a:srgbClr val="003781"/>
                </a:solidFill>
                <a:latin typeface="Allianz Neo" panose="020B0504020203020204" pitchFamily="34" charset="0"/>
              </a:rPr>
              <a:t>Zuzahlung Vers. Jahr 24/25</a:t>
            </a:r>
            <a:endParaRPr kumimoji="0" lang="de-DE" altLang="de-DE" sz="900" b="1" i="0" u="sng" strike="noStrike" kern="1200" cap="none" spc="0" normalizeH="0" baseline="0" noProof="0" dirty="0">
              <a:ln>
                <a:noFill/>
              </a:ln>
              <a:solidFill>
                <a:srgbClr val="13A0D3"/>
              </a:solidFill>
              <a:effectLst/>
              <a:uLnTx/>
              <a:uFillTx/>
              <a:latin typeface="Allianz Neo" panose="020B0504020203020204" pitchFamily="34" charset="0"/>
              <a:ea typeface="+mn-ea"/>
              <a:cs typeface="+mn-cs"/>
            </a:endParaRPr>
          </a:p>
          <a:p>
            <a:pPr marL="171450" marR="0" lvl="0" indent="-171450" algn="l" defTabSz="8640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altLang="de-DE" sz="9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Ja / Nein / Bitte prüfen </a:t>
            </a:r>
            <a:r>
              <a:rPr lang="de-DE" altLang="de-DE" sz="900" dirty="0">
                <a:solidFill>
                  <a:srgbClr val="003781"/>
                </a:solidFill>
                <a:latin typeface="Allianz Neo" panose="020B0504020203020204" pitchFamily="34" charset="0"/>
              </a:rPr>
              <a:t>(Datenstand: 31.03.24 ABS-Verträge / 17.04.24 Klassik-Verträge)</a:t>
            </a:r>
          </a:p>
          <a:p>
            <a:pPr marL="171450" marR="0" lvl="0" indent="-171450" algn="l" defTabSz="86401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altLang="de-DE" sz="9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p>
            <a:pPr lvl="0"/>
            <a:r>
              <a:rPr lang="de-DE" altLang="de-DE" sz="900" b="1" dirty="0">
                <a:solidFill>
                  <a:srgbClr val="13A0D3"/>
                </a:solidFill>
                <a:latin typeface="Allianz Neo" panose="020B0504020203020204" pitchFamily="34" charset="0"/>
              </a:rPr>
              <a:t>Filterfeld 7: </a:t>
            </a:r>
            <a:r>
              <a:rPr lang="de-DE" altLang="de-DE" sz="900" b="1" u="sng" dirty="0">
                <a:solidFill>
                  <a:srgbClr val="003781"/>
                </a:solidFill>
                <a:latin typeface="Allianz Neo" panose="020B0504020203020204" pitchFamily="34" charset="0"/>
              </a:rPr>
              <a:t>Zuzahlungshöhe</a:t>
            </a:r>
            <a:endParaRPr lang="de-DE" altLang="de-DE" sz="900" b="1" u="sng" dirty="0">
              <a:solidFill>
                <a:srgbClr val="13A0D3"/>
              </a:solidFill>
              <a:latin typeface="Allianz Neo" panose="020B0504020203020204" pitchFamily="34" charset="0"/>
            </a:endParaRPr>
          </a:p>
          <a:p>
            <a:pPr marL="171450" lvl="0" indent="-171450">
              <a:buFont typeface="Arial" panose="020B0604020202020204" pitchFamily="34" charset="0"/>
              <a:buChar char="•"/>
              <a:defRPr/>
            </a:pPr>
            <a:r>
              <a:rPr lang="de-DE" altLang="de-DE" sz="900" b="1" dirty="0">
                <a:solidFill>
                  <a:srgbClr val="003781"/>
                </a:solidFill>
                <a:latin typeface="Allianz Neo" panose="020B0504020203020204" pitchFamily="34" charset="0"/>
              </a:rPr>
              <a:t>20.000 / 30.000 / 2,5 </a:t>
            </a:r>
            <a:r>
              <a:rPr lang="de-DE" altLang="de-DE" sz="900" b="1" dirty="0" err="1">
                <a:solidFill>
                  <a:srgbClr val="003781"/>
                </a:solidFill>
                <a:latin typeface="Allianz Neo" panose="020B0504020203020204" pitchFamily="34" charset="0"/>
              </a:rPr>
              <a:t>Mio</a:t>
            </a:r>
            <a:r>
              <a:rPr lang="de-DE" altLang="de-DE" sz="900" b="1" dirty="0">
                <a:solidFill>
                  <a:srgbClr val="003781"/>
                </a:solidFill>
                <a:latin typeface="Allianz Neo" panose="020B0504020203020204" pitchFamily="34" charset="0"/>
              </a:rPr>
              <a:t> </a:t>
            </a:r>
            <a:r>
              <a:rPr lang="de-DE" altLang="de-DE" sz="900" dirty="0">
                <a:solidFill>
                  <a:srgbClr val="003781"/>
                </a:solidFill>
                <a:latin typeface="Allianz Neo" panose="020B0504020203020204" pitchFamily="34" charset="0"/>
              </a:rPr>
              <a:t>(Anzeige für Verträge </a:t>
            </a:r>
            <a:r>
              <a:rPr lang="de-DE" altLang="de-DE" sz="900" dirty="0" err="1">
                <a:solidFill>
                  <a:srgbClr val="003781"/>
                </a:solidFill>
                <a:latin typeface="Allianz Neo" panose="020B0504020203020204" pitchFamily="34" charset="0"/>
              </a:rPr>
              <a:t>SchatzBrief</a:t>
            </a:r>
            <a:r>
              <a:rPr lang="de-DE" altLang="de-DE" sz="900" dirty="0">
                <a:solidFill>
                  <a:srgbClr val="003781"/>
                </a:solidFill>
                <a:latin typeface="Allianz Neo" panose="020B0504020203020204" pitchFamily="34" charset="0"/>
              </a:rPr>
              <a:t> und </a:t>
            </a:r>
            <a:r>
              <a:rPr lang="de-DE" altLang="de-DE" sz="900" dirty="0" err="1">
                <a:solidFill>
                  <a:srgbClr val="003781"/>
                </a:solidFill>
                <a:latin typeface="Allianz Neo" panose="020B0504020203020204" pitchFamily="34" charset="0"/>
              </a:rPr>
              <a:t>PrivatRente</a:t>
            </a:r>
            <a:endParaRPr lang="de-DE" altLang="de-DE" sz="900" dirty="0">
              <a:solidFill>
                <a:srgbClr val="003781"/>
              </a:solidFill>
              <a:latin typeface="Allianz Neo" panose="020B0504020203020204" pitchFamily="34" charset="0"/>
            </a:endParaRPr>
          </a:p>
          <a:p>
            <a:pPr marL="171450" indent="-171450">
              <a:buFont typeface="Arial" panose="020B0604020202020204" pitchFamily="34" charset="0"/>
              <a:buChar char="•"/>
              <a:defRPr/>
            </a:pPr>
            <a:r>
              <a:rPr lang="de-DE" altLang="de-DE" sz="900" b="1" dirty="0">
                <a:solidFill>
                  <a:srgbClr val="003781"/>
                </a:solidFill>
                <a:latin typeface="Allianz Neo" panose="020B0504020203020204" pitchFamily="34" charset="0"/>
              </a:rPr>
              <a:t>Keine Zuzahlung möglich </a:t>
            </a:r>
            <a:r>
              <a:rPr lang="de-DE" altLang="de-DE" sz="900" dirty="0">
                <a:solidFill>
                  <a:srgbClr val="003781"/>
                </a:solidFill>
                <a:latin typeface="Allianz Neo" panose="020B0504020203020204" pitchFamily="34" charset="0"/>
              </a:rPr>
              <a:t>(Anzeige für Verträge </a:t>
            </a:r>
            <a:r>
              <a:rPr lang="de-DE" altLang="de-DE" sz="900" dirty="0" err="1">
                <a:solidFill>
                  <a:srgbClr val="003781"/>
                </a:solidFill>
                <a:latin typeface="Allianz Neo" panose="020B0504020203020204" pitchFamily="34" charset="0"/>
              </a:rPr>
              <a:t>VermögensPolice</a:t>
            </a:r>
            <a:r>
              <a:rPr lang="de-DE" altLang="de-DE" sz="900" dirty="0">
                <a:solidFill>
                  <a:srgbClr val="003781"/>
                </a:solidFill>
                <a:latin typeface="Allianz Neo" panose="020B0504020203020204" pitchFamily="34" charset="0"/>
              </a:rPr>
              <a:t>, APD(W), PFP sowie </a:t>
            </a:r>
            <a:r>
              <a:rPr lang="de-DE" altLang="de-DE" sz="900" dirty="0" err="1">
                <a:solidFill>
                  <a:srgbClr val="003781"/>
                </a:solidFill>
                <a:latin typeface="Allianz Neo" panose="020B0504020203020204" pitchFamily="34" charset="0"/>
              </a:rPr>
              <a:t>SchatzBrief</a:t>
            </a:r>
            <a:r>
              <a:rPr lang="de-DE" altLang="de-DE" sz="900" dirty="0">
                <a:solidFill>
                  <a:srgbClr val="003781"/>
                </a:solidFill>
                <a:latin typeface="Allianz Neo" panose="020B0504020203020204" pitchFamily="34" charset="0"/>
              </a:rPr>
              <a:t> und </a:t>
            </a:r>
            <a:r>
              <a:rPr lang="de-DE" altLang="de-DE" sz="900" dirty="0" err="1">
                <a:solidFill>
                  <a:srgbClr val="003781"/>
                </a:solidFill>
                <a:latin typeface="Allianz Neo" panose="020B0504020203020204" pitchFamily="34" charset="0"/>
              </a:rPr>
              <a:t>PrivatRenten</a:t>
            </a:r>
            <a:r>
              <a:rPr lang="de-DE" altLang="de-DE" sz="900" dirty="0">
                <a:solidFill>
                  <a:srgbClr val="003781"/>
                </a:solidFill>
                <a:latin typeface="Allianz Neo" panose="020B0504020203020204" pitchFamily="34" charset="0"/>
              </a:rPr>
              <a:t> mit Beginn vor 2005)</a:t>
            </a:r>
          </a:p>
          <a:p>
            <a:pPr marR="0" lvl="0" algn="l" defTabSz="914400" rtl="0" eaLnBrk="1" fontAlgn="auto" latinLnBrk="0" hangingPunct="1">
              <a:lnSpc>
                <a:spcPct val="100000"/>
              </a:lnSpc>
              <a:spcBef>
                <a:spcPts val="0"/>
              </a:spcBef>
              <a:spcAft>
                <a:spcPts val="0"/>
              </a:spcAft>
              <a:buClrTx/>
              <a:buSzTx/>
              <a:tabLst/>
              <a:defRPr/>
            </a:pPr>
            <a:endPar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p>
            <a:pPr>
              <a:defRPr/>
            </a:pPr>
            <a:endParaRPr kumimoji="0" lang="de-DE" sz="900" i="0" u="none" strike="noStrike" kern="0" cap="none" spc="0" normalizeH="0" baseline="0" noProof="0" dirty="0">
              <a:ln>
                <a:noFill/>
              </a:ln>
              <a:solidFill>
                <a:srgbClr val="003781"/>
              </a:solidFill>
              <a:effectLst/>
              <a:uLnTx/>
              <a:uFillTx/>
              <a:latin typeface="Allianz Neo PPT"/>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kumimoji="0" lang="de-DE" altLang="de-DE" sz="9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br>
              <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br>
            <a:endPar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llianz Neo" panose="020B05040202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llianz Neo" panose="020B05040202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llianz Neo" panose="020B05040202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llianz Neo" panose="020B05040202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llianz Neo" panose="020B05040202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llianz Neo" panose="020B05040202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llianz Neo" panose="020B05040202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a:ln>
                <a:noFill/>
              </a:ln>
              <a:solidFill>
                <a:srgbClr val="B71E3F"/>
              </a:solidFill>
              <a:effectLst/>
              <a:uLnTx/>
              <a:uFillTx/>
              <a:latin typeface="Allianz Neo" panose="020B0504020203020204" pitchFamily="34" charset="0"/>
              <a:ea typeface="+mn-ea"/>
              <a:cs typeface="+mn-cs"/>
            </a:endParaRPr>
          </a:p>
        </p:txBody>
      </p:sp>
      <p:sp>
        <p:nvSpPr>
          <p:cNvPr id="28" name="Textfeld 27">
            <a:extLst>
              <a:ext uri="{FF2B5EF4-FFF2-40B4-BE49-F238E27FC236}">
                <a16:creationId xmlns:a16="http://schemas.microsoft.com/office/drawing/2014/main" id="{4E9B8296-DAE5-F1E1-57BC-82EB742EF517}"/>
              </a:ext>
            </a:extLst>
          </p:cNvPr>
          <p:cNvSpPr txBox="1"/>
          <p:nvPr/>
        </p:nvSpPr>
        <p:spPr>
          <a:xfrm>
            <a:off x="8719914" y="2335129"/>
            <a:ext cx="2471576" cy="83099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p>
            <a:pPr lvl="0">
              <a:defRPr/>
            </a:pPr>
            <a:endParaRPr lang="de-DE" altLang="de-DE" sz="900" dirty="0">
              <a:solidFill>
                <a:srgbClr val="003781"/>
              </a:solidFill>
              <a:latin typeface="Allianz Neo" panose="020B0504020203020204" pitchFamily="34" charset="0"/>
            </a:endParaRPr>
          </a:p>
          <a:p>
            <a:pPr lvl="0">
              <a:defRPr/>
            </a:pPr>
            <a:endParaRPr lang="de-DE" altLang="de-DE" sz="900" dirty="0">
              <a:solidFill>
                <a:srgbClr val="003781"/>
              </a:solidFill>
              <a:latin typeface="Allianz Neo" panose="020B0504020203020204" pitchFamily="34" charset="0"/>
            </a:endParaRPr>
          </a:p>
          <a:p>
            <a:pPr lvl="0">
              <a:defRPr/>
            </a:pPr>
            <a:endParaRPr lang="de-DE" altLang="de-DE" sz="900" dirty="0">
              <a:solidFill>
                <a:srgbClr val="003781"/>
              </a:solidFill>
              <a:latin typeface="Allianz Neo" panose="020B0504020203020204" pitchFamily="34" charset="0"/>
            </a:endParaRP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altLang="de-DE" sz="9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p>
            <a:pPr marL="0" marR="0" lvl="0" indent="0" algn="l" defTabSz="864017" rtl="0" eaLnBrk="1" fontAlgn="auto" latinLnBrk="0" hangingPunct="1">
              <a:lnSpc>
                <a:spcPct val="100000"/>
              </a:lnSpc>
              <a:spcBef>
                <a:spcPts val="0"/>
              </a:spcBef>
              <a:spcAft>
                <a:spcPts val="0"/>
              </a:spcAft>
              <a:buClrTx/>
              <a:buSzTx/>
              <a:buFontTx/>
              <a:buNone/>
              <a:tabLst/>
              <a:defRPr/>
            </a:pPr>
            <a:endParaRPr kumimoji="0" lang="de-DE" sz="900" b="1" i="0" u="none" strike="noStrike" kern="1200" cap="none" spc="100" normalizeH="0" baseline="0" noProof="0" dirty="0">
              <a:ln>
                <a:noFill/>
              </a:ln>
              <a:solidFill>
                <a:srgbClr val="003781"/>
              </a:solidFill>
              <a:effectLst/>
              <a:uLnTx/>
              <a:uFillTx/>
              <a:latin typeface="Allianz Neo" panose="020B0504020203020204" pitchFamily="34" charset="0"/>
              <a:ea typeface="+mn-ea"/>
              <a:cs typeface="+mn-cs"/>
            </a:endParaRPr>
          </a:p>
        </p:txBody>
      </p:sp>
      <p:pic>
        <p:nvPicPr>
          <p:cNvPr id="6" name="Grafik 5">
            <a:extLst>
              <a:ext uri="{FF2B5EF4-FFF2-40B4-BE49-F238E27FC236}">
                <a16:creationId xmlns:a16="http://schemas.microsoft.com/office/drawing/2014/main" id="{C5645811-BE6A-C569-9391-76A48030E86E}"/>
              </a:ext>
            </a:extLst>
          </p:cNvPr>
          <p:cNvPicPr>
            <a:picLocks noChangeAspect="1"/>
          </p:cNvPicPr>
          <p:nvPr/>
        </p:nvPicPr>
        <p:blipFill>
          <a:blip r:embed="rId3"/>
          <a:stretch>
            <a:fillRect/>
          </a:stretch>
        </p:blipFill>
        <p:spPr>
          <a:xfrm>
            <a:off x="323521" y="1973738"/>
            <a:ext cx="4745237" cy="1875498"/>
          </a:xfrm>
          <a:prstGeom prst="rect">
            <a:avLst/>
          </a:prstGeom>
          <a:ln>
            <a:noFill/>
          </a:ln>
          <a:effectLst>
            <a:outerShdw blurRad="292100" dist="139700" dir="2700000" algn="tl" rotWithShape="0">
              <a:srgbClr val="333333">
                <a:alpha val="65000"/>
              </a:srgbClr>
            </a:outerShdw>
          </a:effectLst>
        </p:spPr>
      </p:pic>
      <p:sp>
        <p:nvSpPr>
          <p:cNvPr id="8" name="Textfeld 7">
            <a:extLst>
              <a:ext uri="{FF2B5EF4-FFF2-40B4-BE49-F238E27FC236}">
                <a16:creationId xmlns:a16="http://schemas.microsoft.com/office/drawing/2014/main" id="{1953263E-1962-03EE-2444-8946EAF28808}"/>
              </a:ext>
            </a:extLst>
          </p:cNvPr>
          <p:cNvSpPr txBox="1"/>
          <p:nvPr/>
        </p:nvSpPr>
        <p:spPr>
          <a:xfrm>
            <a:off x="378351" y="4084581"/>
            <a:ext cx="3991979" cy="276999"/>
          </a:xfrm>
          <a:prstGeom prst="rect">
            <a:avLst/>
          </a:prstGeom>
        </p:spPr>
        <p:txBody>
          <a:bodyPr wrap="square" lIns="0" tIns="0" rIns="0" bIns="0" rtlCol="0">
            <a:spAutoFit/>
          </a:bodyPr>
          <a:lstStyle/>
          <a:p>
            <a:pPr>
              <a:spcBef>
                <a:spcPts val="200"/>
              </a:spcBef>
              <a:defRPr/>
            </a:pPr>
            <a:r>
              <a:rPr lang="de-DE" altLang="de-DE" sz="900" b="1" dirty="0">
                <a:solidFill>
                  <a:srgbClr val="13A0D3"/>
                </a:solidFill>
                <a:latin typeface="Allianz Neo" panose="020B0504020203020204" pitchFamily="34" charset="0"/>
              </a:rPr>
              <a:t>Hinweis: </a:t>
            </a:r>
            <a:r>
              <a:rPr lang="de-DE" altLang="de-DE" sz="900" kern="0" dirty="0">
                <a:solidFill>
                  <a:srgbClr val="003781"/>
                </a:solidFill>
                <a:latin typeface="Allianz Neo PPT"/>
              </a:rPr>
              <a:t>Zusätzliche Vertragsinformationen, wie die Höhe der erfolgten Zuzahlung erhalten Sie bei Download der Excellisten. </a:t>
            </a:r>
            <a:endParaRPr lang="de-DE" sz="900" b="1" kern="0" dirty="0">
              <a:solidFill>
                <a:srgbClr val="003781"/>
              </a:solidFill>
              <a:latin typeface="Allianz Neo PPT"/>
            </a:endParaRPr>
          </a:p>
        </p:txBody>
      </p:sp>
      <p:pic>
        <p:nvPicPr>
          <p:cNvPr id="2" name="Grafik 1" descr="Marke 1 mit einfarbiger Füllung">
            <a:extLst>
              <a:ext uri="{FF2B5EF4-FFF2-40B4-BE49-F238E27FC236}">
                <a16:creationId xmlns:a16="http://schemas.microsoft.com/office/drawing/2014/main" id="{A1D5D24A-CF02-4A44-40C2-69656817BA9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34021" y="2293246"/>
            <a:ext cx="360000" cy="360000"/>
          </a:xfrm>
          <a:prstGeom prst="rect">
            <a:avLst/>
          </a:prstGeom>
        </p:spPr>
      </p:pic>
      <p:pic>
        <p:nvPicPr>
          <p:cNvPr id="3" name="Grafik 2" descr="Abzeichen mit einfarbiger Füllung">
            <a:extLst>
              <a:ext uri="{FF2B5EF4-FFF2-40B4-BE49-F238E27FC236}">
                <a16:creationId xmlns:a16="http://schemas.microsoft.com/office/drawing/2014/main" id="{10AA05B5-4971-7F6C-B5AF-A627EBAA5D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234021" y="2877115"/>
            <a:ext cx="360000" cy="360000"/>
          </a:xfrm>
          <a:prstGeom prst="rect">
            <a:avLst/>
          </a:prstGeom>
        </p:spPr>
      </p:pic>
      <p:pic>
        <p:nvPicPr>
          <p:cNvPr id="4" name="Grafik 3" descr="Marke 3 mit einfarbiger Füllung">
            <a:extLst>
              <a:ext uri="{FF2B5EF4-FFF2-40B4-BE49-F238E27FC236}">
                <a16:creationId xmlns:a16="http://schemas.microsoft.com/office/drawing/2014/main" id="{0754211F-FBFD-04FB-515E-3B00E25D102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234021" y="3302876"/>
            <a:ext cx="360000" cy="360000"/>
          </a:xfrm>
          <a:prstGeom prst="rect">
            <a:avLst/>
          </a:prstGeom>
        </p:spPr>
      </p:pic>
      <p:pic>
        <p:nvPicPr>
          <p:cNvPr id="7" name="Grafik 6" descr="Marke 4 mit einfarbiger Füllung">
            <a:extLst>
              <a:ext uri="{FF2B5EF4-FFF2-40B4-BE49-F238E27FC236}">
                <a16:creationId xmlns:a16="http://schemas.microsoft.com/office/drawing/2014/main" id="{DA9A8AA0-7C4C-EA06-D781-A6028C979B7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234021" y="4385309"/>
            <a:ext cx="360000" cy="360000"/>
          </a:xfrm>
          <a:prstGeom prst="rect">
            <a:avLst/>
          </a:prstGeom>
        </p:spPr>
      </p:pic>
      <p:pic>
        <p:nvPicPr>
          <p:cNvPr id="10" name="Grafik 9" descr="Marke 5 mit einfarbiger Füllung">
            <a:extLst>
              <a:ext uri="{FF2B5EF4-FFF2-40B4-BE49-F238E27FC236}">
                <a16:creationId xmlns:a16="http://schemas.microsoft.com/office/drawing/2014/main" id="{BBD95056-CC92-6787-7238-4BF70B3A7BC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234021" y="4808827"/>
            <a:ext cx="360000" cy="360000"/>
          </a:xfrm>
          <a:prstGeom prst="rect">
            <a:avLst/>
          </a:prstGeom>
        </p:spPr>
      </p:pic>
      <p:pic>
        <p:nvPicPr>
          <p:cNvPr id="11" name="Grafik 10" descr="Marke 6 mit einfarbiger Füllung">
            <a:extLst>
              <a:ext uri="{FF2B5EF4-FFF2-40B4-BE49-F238E27FC236}">
                <a16:creationId xmlns:a16="http://schemas.microsoft.com/office/drawing/2014/main" id="{708B527D-4EF6-1152-63CB-B3211928C1E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234021" y="5227122"/>
            <a:ext cx="360000" cy="360000"/>
          </a:xfrm>
          <a:prstGeom prst="rect">
            <a:avLst/>
          </a:prstGeom>
        </p:spPr>
      </p:pic>
      <p:pic>
        <p:nvPicPr>
          <p:cNvPr id="12" name="Grafik 11" descr="Marke 7 mit einfarbiger Füllung">
            <a:extLst>
              <a:ext uri="{FF2B5EF4-FFF2-40B4-BE49-F238E27FC236}">
                <a16:creationId xmlns:a16="http://schemas.microsoft.com/office/drawing/2014/main" id="{997FF453-D1D8-2F40-F421-1F34B2603A1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234021" y="5629709"/>
            <a:ext cx="360000" cy="360000"/>
          </a:xfrm>
          <a:prstGeom prst="rect">
            <a:avLst/>
          </a:prstGeom>
        </p:spPr>
      </p:pic>
      <p:pic>
        <p:nvPicPr>
          <p:cNvPr id="14" name="Grafik 13" descr="Marke 1 mit einfarbiger Füllung">
            <a:extLst>
              <a:ext uri="{FF2B5EF4-FFF2-40B4-BE49-F238E27FC236}">
                <a16:creationId xmlns:a16="http://schemas.microsoft.com/office/drawing/2014/main" id="{34042B01-EDE8-6225-3D20-1F7EECBEC49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1618" y="2489872"/>
            <a:ext cx="180000" cy="180000"/>
          </a:xfrm>
          <a:prstGeom prst="rect">
            <a:avLst/>
          </a:prstGeom>
        </p:spPr>
      </p:pic>
      <p:pic>
        <p:nvPicPr>
          <p:cNvPr id="15" name="Grafik 14" descr="Abzeichen mit einfarbiger Füllung">
            <a:extLst>
              <a:ext uri="{FF2B5EF4-FFF2-40B4-BE49-F238E27FC236}">
                <a16:creationId xmlns:a16="http://schemas.microsoft.com/office/drawing/2014/main" id="{3734D400-D18F-3247-5974-4E861ECB0DF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080658" y="2489872"/>
            <a:ext cx="180000" cy="180000"/>
          </a:xfrm>
          <a:prstGeom prst="rect">
            <a:avLst/>
          </a:prstGeom>
        </p:spPr>
      </p:pic>
      <p:pic>
        <p:nvPicPr>
          <p:cNvPr id="16" name="Grafik 15" descr="Marke 3 mit einfarbiger Füllung">
            <a:extLst>
              <a:ext uri="{FF2B5EF4-FFF2-40B4-BE49-F238E27FC236}">
                <a16:creationId xmlns:a16="http://schemas.microsoft.com/office/drawing/2014/main" id="{B5C3AAD4-3A02-FBA2-D7AD-12CFFD2AB23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104572" y="2489872"/>
            <a:ext cx="180000" cy="180000"/>
          </a:xfrm>
          <a:prstGeom prst="rect">
            <a:avLst/>
          </a:prstGeom>
        </p:spPr>
      </p:pic>
      <p:pic>
        <p:nvPicPr>
          <p:cNvPr id="17" name="Grafik 16" descr="Marke 4 mit einfarbiger Füllung">
            <a:extLst>
              <a:ext uri="{FF2B5EF4-FFF2-40B4-BE49-F238E27FC236}">
                <a16:creationId xmlns:a16="http://schemas.microsoft.com/office/drawing/2014/main" id="{560B4D70-AC05-5AFF-1CE7-E7AFDE93B2A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90331" y="2489872"/>
            <a:ext cx="180000" cy="180000"/>
          </a:xfrm>
          <a:prstGeom prst="rect">
            <a:avLst/>
          </a:prstGeom>
        </p:spPr>
      </p:pic>
      <p:pic>
        <p:nvPicPr>
          <p:cNvPr id="18" name="Grafik 17" descr="Marke 5 mit einfarbiger Füllung">
            <a:extLst>
              <a:ext uri="{FF2B5EF4-FFF2-40B4-BE49-F238E27FC236}">
                <a16:creationId xmlns:a16="http://schemas.microsoft.com/office/drawing/2014/main" id="{31AF8624-127A-8953-B6A5-55339E64048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0253" y="2713877"/>
            <a:ext cx="180000" cy="180000"/>
          </a:xfrm>
          <a:prstGeom prst="rect">
            <a:avLst/>
          </a:prstGeom>
        </p:spPr>
      </p:pic>
      <p:pic>
        <p:nvPicPr>
          <p:cNvPr id="19" name="Grafik 18" descr="Marke 6 mit einfarbiger Füllung">
            <a:extLst>
              <a:ext uri="{FF2B5EF4-FFF2-40B4-BE49-F238E27FC236}">
                <a16:creationId xmlns:a16="http://schemas.microsoft.com/office/drawing/2014/main" id="{EDDD50A2-7A63-324F-B712-0E9812749CD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080658" y="2713877"/>
            <a:ext cx="180000" cy="180000"/>
          </a:xfrm>
          <a:prstGeom prst="rect">
            <a:avLst/>
          </a:prstGeom>
        </p:spPr>
      </p:pic>
      <p:pic>
        <p:nvPicPr>
          <p:cNvPr id="20" name="Grafik 19" descr="Marke 7 mit einfarbiger Füllung">
            <a:extLst>
              <a:ext uri="{FF2B5EF4-FFF2-40B4-BE49-F238E27FC236}">
                <a16:creationId xmlns:a16="http://schemas.microsoft.com/office/drawing/2014/main" id="{11F3942C-53F4-4C40-D6A1-4178FAE0444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104572" y="2713877"/>
            <a:ext cx="180000" cy="180000"/>
          </a:xfrm>
          <a:prstGeom prst="rect">
            <a:avLst/>
          </a:prstGeom>
        </p:spPr>
      </p:pic>
    </p:spTree>
    <p:extLst>
      <p:ext uri="{BB962C8B-B14F-4D97-AF65-F5344CB8AC3E}">
        <p14:creationId xmlns:p14="http://schemas.microsoft.com/office/powerpoint/2010/main" val="24232233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Allianz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 PPT Template for Board Presentations  -  Read-Only" id="{6B5D5CF9-9A7E-4F68-AC41-1704C096A444}" vid="{5BAA0F6A-8D2A-43C9-861C-7DA2F31F82B0}"/>
    </a:ext>
  </a:extLst>
</a:theme>
</file>

<file path=ppt/theme/theme4.xml><?xml version="1.0" encoding="utf-8"?>
<a:theme xmlns:a="http://schemas.openxmlformats.org/drawingml/2006/main" name="1_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5.xml><?xml version="1.0" encoding="utf-8"?>
<a:theme xmlns:a="http://schemas.openxmlformats.org/drawingml/2006/main" name="3_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6.xml><?xml version="1.0" encoding="utf-8"?>
<a:theme xmlns:a="http://schemas.openxmlformats.org/drawingml/2006/main" name="4_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7.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C060B07AE951CB4D8AB15A9F62D8CF01" ma:contentTypeVersion="34" ma:contentTypeDescription="Ein neues Dokument erstellen." ma:contentTypeScope="" ma:versionID="96069a590a38e140b7196cd151c67bc7">
  <xsd:schema xmlns:xsd="http://www.w3.org/2001/XMLSchema" xmlns:xs="http://www.w3.org/2001/XMLSchema" xmlns:p="http://schemas.microsoft.com/office/2006/metadata/properties" xmlns:ns1="http://schemas.microsoft.com/sharepoint/v3" xmlns:ns2="e0ae3352-4e21-4473-a79d-2045bd1c0939" xmlns:ns3="32b3450f-ce61-451e-aa51-62c538571eae" targetNamespace="http://schemas.microsoft.com/office/2006/metadata/properties" ma:root="true" ma:fieldsID="f60739542db76f9d9046153067ad7b1d" ns1:_="" ns2:_="" ns3:_="">
    <xsd:import namespace="http://schemas.microsoft.com/sharepoint/v3"/>
    <xsd:import namespace="e0ae3352-4e21-4473-a79d-2045bd1c0939"/>
    <xsd:import namespace="32b3450f-ce61-451e-aa51-62c538571eae"/>
    <xsd:element name="properties">
      <xsd:complexType>
        <xsd:sequence>
          <xsd:element name="documentManagement">
            <xsd:complexType>
              <xsd:all>
                <xsd:element ref="ns1:DocumentSetDescription" minOccurs="0"/>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1:_ip_UnifiedCompliancePolicyProperties" minOccurs="0"/>
                <xsd:element ref="ns1:_ip_UnifiedCompliancePolicyUIAction" minOccurs="0"/>
                <xsd:element ref="ns2:MediaServiceLocation" minOccurs="0"/>
                <xsd:element ref="ns3:_dlc_DocId" minOccurs="0"/>
                <xsd:element ref="ns3:_dlc_DocIdUrl" minOccurs="0"/>
                <xsd:element ref="ns3:_dlc_DocIdPersistId" minOccurs="0"/>
                <xsd:element ref="ns3:oce1b8d182e44280b841627310073032" minOccurs="0"/>
                <xsd:element ref="ns3:ContractDate" minOccurs="0"/>
                <xsd:element ref="ns3:DossierOwner" minOccurs="0"/>
                <xsd:element ref="ns3:DossierStatus" minOccurs="0"/>
                <xsd:element ref="ns3:m5bad8d682a84eba860cef2134366a86" minOccurs="0"/>
                <xsd:element ref="ns3:MailPreviewData" minOccurs="0"/>
                <xsd:element ref="ns3:ContractExpirationDat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8" nillable="true" ma:displayName="Beschreibung" ma:description="Eine Beschreibung der Dokumentenmappe" ma:internalName="DocumentSetDescription">
      <xsd:simpleType>
        <xsd:restriction base="dms:Note"/>
      </xsd:simpleType>
    </xsd:element>
    <xsd:element name="_ip_UnifiedCompliancePolicyProperties" ma:index="22" nillable="true" ma:displayName="Eigenschaften der einheitlichen Compliancerichtlinie" ma:hidden="true" ma:internalName="_ip_UnifiedCompliancePolicyProperties">
      <xsd:simpleType>
        <xsd:restriction base="dms:Note"/>
      </xsd:simpleType>
    </xsd:element>
    <xsd:element name="_ip_UnifiedCompliancePolicyUIAction" ma:index="23"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ae3352-4e21-4473-a79d-2045bd1c0939"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10820af1-e82f-496e-bbcb-d9502914b7b2"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description="" ma:indexed="true" ma:internalName="MediaServiceLocation" ma:readOnly="true">
      <xsd:simpleType>
        <xsd:restriction base="dms:Text"/>
      </xsd:simpleType>
    </xsd:element>
    <xsd:element name="MediaServiceObjectDetectorVersions" ma:index="3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2b3450f-ce61-451e-aa51-62c538571eae"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f46124e2-7c3c-41cb-867e-54a6668d9199}" ma:internalName="TaxCatchAll" ma:showField="CatchAllData" ma:web="32b3450f-ce61-451e-aa51-62c538571eae">
      <xsd:complexType>
        <xsd:complexContent>
          <xsd:extension base="dms:MultiChoiceLookup">
            <xsd:sequence>
              <xsd:element name="Value" type="dms:Lookup" maxOccurs="unbounded" minOccurs="0" nillable="true"/>
            </xsd:sequence>
          </xsd:extension>
        </xsd:complexContent>
      </xsd:complexType>
    </xsd:element>
    <xsd:element name="_dlc_DocId" ma:index="25" nillable="true" ma:displayName="Wert der Dokument-ID" ma:description="Der Wert der diesem Element zugewiesenen Dokument-ID." ma:indexed="true" ma:internalName="_dlc_DocId" ma:readOnly="true">
      <xsd:simpleType>
        <xsd:restriction base="dms:Text"/>
      </xsd:simpleType>
    </xsd:element>
    <xsd:element name="_dlc_DocIdUrl" ma:index="26"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7" nillable="true" ma:displayName="Persist ID" ma:description="Keep ID on add." ma:hidden="true" ma:internalName="_dlc_DocIdPersistId" ma:readOnly="true">
      <xsd:simpleType>
        <xsd:restriction base="dms:Boolean"/>
      </xsd:simpleType>
    </xsd:element>
    <xsd:element name="oce1b8d182e44280b841627310073032" ma:index="28" nillable="true" ma:taxonomy="true" ma:internalName="oce1b8d182e44280b841627310073032" ma:taxonomyFieldName="Contract_Type" ma:displayName="Vertragsart" ma:fieldId="{8ce1b8d1-82e4-4280-b841-627310073032}" ma:sspId="10820af1-e82f-496e-bbcb-d9502914b7b2" ma:termSetId="70805c8f-f58a-429f-b5cb-62c5b6dc5528" ma:anchorId="00000000-0000-0000-0000-000000000000" ma:open="false" ma:isKeyword="false">
      <xsd:complexType>
        <xsd:sequence>
          <xsd:element ref="pc:Terms" minOccurs="0" maxOccurs="1"/>
        </xsd:sequence>
      </xsd:complexType>
    </xsd:element>
    <xsd:element name="ContractDate" ma:index="30" nillable="true" ma:displayName="Vertragsdatum" ma:description="Datum, an dem der Vertrag geschlossen wurde." ma:format="DateOnly" ma:hidden="true" ma:internalName="ContractDate" ma:readOnly="false">
      <xsd:simpleType>
        <xsd:restriction base="dms:DateTime"/>
      </xsd:simpleType>
    </xsd:element>
    <xsd:element name="DossierOwner" ma:index="31" nillable="true" ma:displayName="Dossier Verantwortliche" ma:description="Person(en), die für die Informationen in diesem Dossier verantwortlich sind." ma:hidden="true" ma:internalName="Dossier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ossierStatus" ma:index="32" nillable="true" ma:displayName="Dossier Status" ma:default="" ma:description="Status des Dossiers." ma:hidden="true" ma:internalName="DossierStatus">
      <xsd:simpleType>
        <xsd:restriction base="dms:Choice">
          <xsd:enumeration value="Offen"/>
          <xsd:enumeration value="Geschlossen"/>
        </xsd:restriction>
      </xsd:simpleType>
    </xsd:element>
    <xsd:element name="m5bad8d682a84eba860cef2134366a86" ma:index="33" nillable="true" ma:taxonomy="true" ma:internalName="m5bad8d682a84eba860cef2134366a86" ma:taxonomyFieldName="Document_Class" ma:displayName="Dokumentenklasse" ma:fieldId="{65bad8d6-82a8-4eba-860c-ef2134366a86}" ma:sspId="10820af1-e82f-496e-bbcb-d9502914b7b2" ma:termSetId="a8fe5516-3f25-4a18-9fe8-9ec61fcfebb7" ma:anchorId="00000000-0000-0000-0000-000000000000" ma:open="false" ma:isKeyword="false">
      <xsd:complexType>
        <xsd:sequence>
          <xsd:element ref="pc:Terms" minOccurs="0" maxOccurs="1"/>
        </xsd:sequence>
      </xsd:complexType>
    </xsd:element>
    <xsd:element name="MailPreviewData" ma:index="35" nillable="true" ma:displayName="Mail Vorschau" ma:description="Dateivorschau für Harmonie." ma:hidden="true" ma:internalName="MailPreviewData" ma:readOnly="false">
      <xsd:simpleType>
        <xsd:restriction base="dms:Note"/>
      </xsd:simpleType>
    </xsd:element>
    <xsd:element name="ContractExpirationDate" ma:index="36" nillable="true" ma:displayName="Ablaufdatum" ma:description="Datum, an dem der Vertrag außer Kraft tritt/ trat." ma:format="DateOnly" ma:hidden="true" ma:internalName="ContractExpiration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DocumentSetDescription xmlns="http://schemas.microsoft.com/sharepoint/v3" xsi:nil="true"/>
    <lcf76f155ced4ddcb4097134ff3c332f xmlns="e0ae3352-4e21-4473-a79d-2045bd1c0939">
      <Terms xmlns="http://schemas.microsoft.com/office/infopath/2007/PartnerControls"/>
    </lcf76f155ced4ddcb4097134ff3c332f>
    <_ip_UnifiedCompliancePolicyProperties xmlns="http://schemas.microsoft.com/sharepoint/v3" xsi:nil="true"/>
    <TaxCatchAll xmlns="32b3450f-ce61-451e-aa51-62c538571eae" xsi:nil="true"/>
    <ContractExpirationDate xmlns="32b3450f-ce61-451e-aa51-62c538571eae" xsi:nil="true"/>
    <oce1b8d182e44280b841627310073032 xmlns="32b3450f-ce61-451e-aa51-62c538571eae">
      <Terms xmlns="http://schemas.microsoft.com/office/infopath/2007/PartnerControls"/>
    </oce1b8d182e44280b841627310073032>
    <MailPreviewData xmlns="32b3450f-ce61-451e-aa51-62c538571eae" xsi:nil="true"/>
    <DossierOwner xmlns="32b3450f-ce61-451e-aa51-62c538571eae">
      <UserInfo>
        <DisplayName/>
        <AccountId xsi:nil="true"/>
        <AccountType/>
      </UserInfo>
    </DossierOwner>
    <m5bad8d682a84eba860cef2134366a86 xmlns="32b3450f-ce61-451e-aa51-62c538571eae">
      <Terms xmlns="http://schemas.microsoft.com/office/infopath/2007/PartnerControls"/>
    </m5bad8d682a84eba860cef2134366a86>
    <DossierStatus xmlns="32b3450f-ce61-451e-aa51-62c538571eae" xsi:nil="true"/>
    <ContractDate xmlns="32b3450f-ce61-451e-aa51-62c538571eae" xsi:nil="true"/>
    <_dlc_DocId xmlns="32b3450f-ce61-451e-aa51-62c538571eae">27F2JRJESJJD-1579597864-485763</_dlc_DocId>
    <_dlc_DocIdUrl xmlns="32b3450f-ce61-451e-aa51-62c538571eae">
      <Url>https://allianzms.sharepoint.com/teams/DE1478-280705/_layouts/15/DocIdRedir.aspx?ID=27F2JRJESJJD-1579597864-485763</Url>
      <Description>27F2JRJESJJD-1579597864-485763</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23BC3EA-9670-41A1-963B-BAA2743063BC}">
  <ds:schemaRefs>
    <ds:schemaRef ds:uri="32b3450f-ce61-451e-aa51-62c538571eae"/>
    <ds:schemaRef ds:uri="e0ae3352-4e21-4473-a79d-2045bd1c093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8238861-3DAC-4F8A-8FBD-A33F14A90246}">
  <ds:schemaRefs>
    <ds:schemaRef ds:uri="http://purl.org/dc/elements/1.1/"/>
    <ds:schemaRef ds:uri="http://schemas.microsoft.com/office/2006/metadata/properties"/>
    <ds:schemaRef ds:uri="e0ae3352-4e21-4473-a79d-2045bd1c0939"/>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2b3450f-ce61-451e-aa51-62c538571eae"/>
    <ds:schemaRef ds:uri="http://www.w3.org/XML/1998/namespace"/>
    <ds:schemaRef ds:uri="http://purl.org/dc/dcmitype/"/>
  </ds:schemaRefs>
</ds:datastoreItem>
</file>

<file path=customXml/itemProps3.xml><?xml version="1.0" encoding="utf-8"?>
<ds:datastoreItem xmlns:ds="http://schemas.openxmlformats.org/officeDocument/2006/customXml" ds:itemID="{FE6DE053-5B96-4E11-9E02-60F566190ED6}">
  <ds:schemaRefs>
    <ds:schemaRef ds:uri="http://schemas.microsoft.com/sharepoint/events"/>
  </ds:schemaRefs>
</ds:datastoreItem>
</file>

<file path=customXml/itemProps4.xml><?xml version="1.0" encoding="utf-8"?>
<ds:datastoreItem xmlns:ds="http://schemas.openxmlformats.org/officeDocument/2006/customXml" ds:itemID="{979EEEB4-116B-45D7-A00E-4485C1BF49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signAllianz Benutzerfarben</Template>
  <TotalTime>0</TotalTime>
  <Words>2170</Words>
  <Application>Microsoft Office PowerPoint</Application>
  <PresentationFormat>Benutzerdefiniert</PresentationFormat>
  <Paragraphs>362</Paragraphs>
  <Slides>14</Slides>
  <Notes>6</Notes>
  <HiddenSlides>0</HiddenSlides>
  <MMClips>0</MMClips>
  <ScaleCrop>false</ScaleCrop>
  <HeadingPairs>
    <vt:vector size="8" baseType="variant">
      <vt:variant>
        <vt:lpstr>Verwendete Schriftarten</vt:lpstr>
      </vt:variant>
      <vt:variant>
        <vt:i4>7</vt:i4>
      </vt:variant>
      <vt:variant>
        <vt:lpstr>Design</vt:lpstr>
      </vt:variant>
      <vt:variant>
        <vt:i4>6</vt:i4>
      </vt:variant>
      <vt:variant>
        <vt:lpstr>Eingebettete OLE-Server</vt:lpstr>
      </vt:variant>
      <vt:variant>
        <vt:i4>1</vt:i4>
      </vt:variant>
      <vt:variant>
        <vt:lpstr>Folientitel</vt:lpstr>
      </vt:variant>
      <vt:variant>
        <vt:i4>14</vt:i4>
      </vt:variant>
    </vt:vector>
  </HeadingPairs>
  <TitlesOfParts>
    <vt:vector size="28" baseType="lpstr">
      <vt:lpstr>Symbol</vt:lpstr>
      <vt:lpstr>Calibri</vt:lpstr>
      <vt:lpstr>Wingdings</vt:lpstr>
      <vt:lpstr>Allianz Neo PPT</vt:lpstr>
      <vt:lpstr>Arial</vt:lpstr>
      <vt:lpstr>Allianz Neo</vt:lpstr>
      <vt:lpstr>Allianz Neo Light</vt:lpstr>
      <vt:lpstr>Allianz white</vt:lpstr>
      <vt:lpstr>Allianz blue</vt:lpstr>
      <vt:lpstr>Content charts white</vt:lpstr>
      <vt:lpstr>1_Allianz white</vt:lpstr>
      <vt:lpstr>3_Allianz white</vt:lpstr>
      <vt:lpstr>4_Allianz white</vt:lpstr>
      <vt:lpstr>think-cell Slide</vt:lpstr>
      <vt:lpstr>Briefaktion: Förderung und Zuzahlung Einmalbeitragsgeschäft 2024</vt:lpstr>
      <vt:lpstr>4 gute Gründe, warum der Ansprache- Anlass Ihnen weiterhilft</vt:lpstr>
      <vt:lpstr>Die Aktion auf einen Blick</vt:lpstr>
      <vt:lpstr>Zielgruppen – Details</vt:lpstr>
      <vt:lpstr>Kundenunterlagen Brief Zuzahlung</vt:lpstr>
      <vt:lpstr>Brief Zuzahlung Zuzahlungsmöglichkeiten</vt:lpstr>
      <vt:lpstr>Brief Zuzahlung Bankverbindungen</vt:lpstr>
      <vt:lpstr>Kundenunterlagen Brief Neuabschluss</vt:lpstr>
      <vt:lpstr>PowerPoint-Präsentation</vt:lpstr>
      <vt:lpstr>PowerPoint-Präsentation</vt:lpstr>
      <vt:lpstr>Bearbeitung im ACA Abkürzungsverzeichnis </vt:lpstr>
      <vt:lpstr>So punkten Sie  im Kundengespräch</vt:lpstr>
      <vt:lpstr>Worauf warten Sie noch? Alles startklar für Ihren Erfolg!</vt:lpstr>
      <vt:lpstr>Informationen zum Datenschutz</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k Schulz</dc:creator>
  <cp:lastModifiedBy>Schach, Birgit (Allianz Lebensversicherungs-AG)</cp:lastModifiedBy>
  <cp:revision>3</cp:revision>
  <dcterms:created xsi:type="dcterms:W3CDTF">2021-05-25T12:15:33Z</dcterms:created>
  <dcterms:modified xsi:type="dcterms:W3CDTF">2024-05-17T07:5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60B07AE951CB4D8AB15A9F62D8CF01</vt:lpwstr>
  </property>
  <property fmtid="{D5CDD505-2E9C-101B-9397-08002B2CF9AE}" pid="3" name="_NewReviewCycle">
    <vt:lpwstr/>
  </property>
  <property fmtid="{D5CDD505-2E9C-101B-9397-08002B2CF9AE}" pid="4" name="MediaServiceImageTags">
    <vt:lpwstr/>
  </property>
  <property fmtid="{D5CDD505-2E9C-101B-9397-08002B2CF9AE}" pid="5" name="_dlc_DocIdItemGuid">
    <vt:lpwstr>a28a0d45-da4c-410d-b8db-d53d3f1bf5e7</vt:lpwstr>
  </property>
  <property fmtid="{D5CDD505-2E9C-101B-9397-08002B2CF9AE}" pid="6" name="DossierDepartment">
    <vt:lpwstr/>
  </property>
  <property fmtid="{D5CDD505-2E9C-101B-9397-08002B2CF9AE}" pid="7" name="AllianzContractingParties">
    <vt:lpwstr/>
  </property>
  <property fmtid="{D5CDD505-2E9C-101B-9397-08002B2CF9AE}" pid="8" name="jd372f7c472a465da36675f4ba8e760c">
    <vt:lpwstr/>
  </property>
  <property fmtid="{D5CDD505-2E9C-101B-9397-08002B2CF9AE}" pid="9" name="Contract_Type">
    <vt:lpwstr/>
  </property>
  <property fmtid="{D5CDD505-2E9C-101B-9397-08002B2CF9AE}" pid="10" name="gfeb211f74454fac898018954e830c8f">
    <vt:lpwstr/>
  </property>
  <property fmtid="{D5CDD505-2E9C-101B-9397-08002B2CF9AE}" pid="11" name="Document_Class">
    <vt:lpwstr/>
  </property>
  <property fmtid="{D5CDD505-2E9C-101B-9397-08002B2CF9AE}" pid="12" name="MSIP_Label_863bc15e-e7bf-41c1-bdb3-03882d8a2e2c_Enabled">
    <vt:lpwstr>true</vt:lpwstr>
  </property>
  <property fmtid="{D5CDD505-2E9C-101B-9397-08002B2CF9AE}" pid="13" name="MSIP_Label_863bc15e-e7bf-41c1-bdb3-03882d8a2e2c_SetDate">
    <vt:lpwstr>2024-05-17T07:50:43Z</vt:lpwstr>
  </property>
  <property fmtid="{D5CDD505-2E9C-101B-9397-08002B2CF9AE}" pid="14" name="MSIP_Label_863bc15e-e7bf-41c1-bdb3-03882d8a2e2c_Method">
    <vt:lpwstr>Privileged</vt:lpwstr>
  </property>
  <property fmtid="{D5CDD505-2E9C-101B-9397-08002B2CF9AE}" pid="15" name="MSIP_Label_863bc15e-e7bf-41c1-bdb3-03882d8a2e2c_Name">
    <vt:lpwstr>863bc15e-e7bf-41c1-bdb3-03882d8a2e2c</vt:lpwstr>
  </property>
  <property fmtid="{D5CDD505-2E9C-101B-9397-08002B2CF9AE}" pid="16" name="MSIP_Label_863bc15e-e7bf-41c1-bdb3-03882d8a2e2c_SiteId">
    <vt:lpwstr>6e06e42d-6925-47c6-b9e7-9581c7ca302a</vt:lpwstr>
  </property>
  <property fmtid="{D5CDD505-2E9C-101B-9397-08002B2CF9AE}" pid="17" name="MSIP_Label_863bc15e-e7bf-41c1-bdb3-03882d8a2e2c_ActionId">
    <vt:lpwstr>c31e0bc7-9dd3-42a7-8231-fd4d3f3b554b</vt:lpwstr>
  </property>
  <property fmtid="{D5CDD505-2E9C-101B-9397-08002B2CF9AE}" pid="18" name="MSIP_Label_863bc15e-e7bf-41c1-bdb3-03882d8a2e2c_ContentBits">
    <vt:lpwstr>1</vt:lpwstr>
  </property>
</Properties>
</file>